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4"/>
    <p:sldMasterId id="2147483665" r:id="rId5"/>
    <p:sldMasterId id="2147483670" r:id="rId6"/>
  </p:sldMasterIdLst>
  <p:notesMasterIdLst>
    <p:notesMasterId r:id="rId12"/>
  </p:notesMasterIdLst>
  <p:handoutMasterIdLst>
    <p:handoutMasterId r:id="rId13"/>
  </p:handoutMasterIdLst>
  <p:sldIdLst>
    <p:sldId id="257" r:id="rId7"/>
    <p:sldId id="471" r:id="rId8"/>
    <p:sldId id="487" r:id="rId9"/>
    <p:sldId id="488" r:id="rId10"/>
    <p:sldId id="482" r:id="rId11"/>
  </p:sldIdLst>
  <p:sldSz cx="13442950" cy="7561263"/>
  <p:notesSz cx="7104063" cy="10234613"/>
  <p:defaultTextStyle>
    <a:defPPr>
      <a:defRPr lang="pt-BR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ção Padrão" id="{518A6DE0-5A07-4B92-AB0B-CBE40F1E12B0}">
          <p14:sldIdLst/>
        </p14:section>
        <p14:section name="Seção sem Título" id="{B25D74AB-31B5-4A84-9E5B-036A4CD24A72}">
          <p14:sldIdLst>
            <p14:sldId id="257"/>
            <p14:sldId id="471"/>
            <p14:sldId id="487"/>
            <p14:sldId id="488"/>
            <p14:sldId id="48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382" userDrawn="1">
          <p15:clr>
            <a:srgbClr val="A4A3A4"/>
          </p15:clr>
        </p15:guide>
        <p15:guide id="2" pos="423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53746"/>
    <a:srgbClr val="32B9CD"/>
    <a:srgbClr val="292C34"/>
    <a:srgbClr val="272A30"/>
    <a:srgbClr val="131E29"/>
    <a:srgbClr val="3437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E823099-46A7-4167-ACCC-148691D9D4C5}" v="2" dt="2020-08-25T20:02:37.79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howGuides="1">
      <p:cViewPr varScale="1">
        <p:scale>
          <a:sx n="63" d="100"/>
          <a:sy n="63" d="100"/>
        </p:scale>
        <p:origin x="210" y="48"/>
      </p:cViewPr>
      <p:guideLst>
        <p:guide orient="horz" pos="2382"/>
        <p:guide pos="4234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handoutMaster" Target="handoutMasters/handoutMaster1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C3CD65D1-5C11-455D-9F9A-0E035F00A0DA}" type="datetimeFigureOut">
              <a:rPr lang="pt-BR" smtClean="0"/>
              <a:pPr/>
              <a:t>08/02/2022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4023992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CA8E3B7C-E4AE-4E9E-8479-7C668141D483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A05DA3EF-18EA-43DE-B1BB-402A3C558822}" type="datetimeFigureOut">
              <a:rPr lang="pt-BR" smtClean="0"/>
              <a:pPr/>
              <a:t>08/02/2022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41288" y="768350"/>
            <a:ext cx="6821487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710407" y="4861441"/>
            <a:ext cx="5683250" cy="4605576"/>
          </a:xfrm>
          <a:prstGeom prst="rect">
            <a:avLst/>
          </a:prstGeom>
        </p:spPr>
        <p:txBody>
          <a:bodyPr vert="horz" lIns="99075" tIns="49538" rIns="99075" bIns="49538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4023992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75B3645A-D0AE-4F6E-A17E-E0036A9041AF}" type="slidenum">
              <a:rPr lang="pt-BR" smtClean="0"/>
              <a:pPr/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>
                <a:solidFill>
                  <a:prstClr val="black"/>
                </a:solidFill>
              </a:rPr>
              <a:pPr/>
              <a:t>2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76856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AB0DCC-3A9F-4D00-9FBC-15613DA710AD}" type="slidenum">
              <a:rPr lang="pt-BR" smtClean="0"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271199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AB0DCC-3A9F-4D00-9FBC-15613DA710AD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957946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hyperlink" Target="https://visualhunt.com/" TargetMode="External"/><Relationship Id="rId2" Type="http://schemas.openxmlformats.org/officeDocument/2006/relationships/hyperlink" Target="https://unsplash.com/" TargetMode="External"/><Relationship Id="rId1" Type="http://schemas.openxmlformats.org/officeDocument/2006/relationships/slideMaster" Target="../slideMasters/slideMaster3.xml"/><Relationship Id="rId4" Type="http://schemas.openxmlformats.org/officeDocument/2006/relationships/hyperlink" Target="https://www.pexels.com/pt-br/" TargetMode="Externa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ma Parte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1"/>
          </p:nvPr>
        </p:nvSpPr>
        <p:spPr>
          <a:xfrm>
            <a:off x="2828982" y="1331914"/>
            <a:ext cx="8779933" cy="5761037"/>
          </a:xfrm>
          <a:prstGeom prst="rect">
            <a:avLst/>
          </a:prstGeom>
        </p:spPr>
        <p:txBody>
          <a:bodyPr/>
          <a:lstStyle>
            <a:lvl1pPr>
              <a:buClr>
                <a:srgbClr val="32B9CD"/>
              </a:buClr>
              <a:defRPr>
                <a:latin typeface="Exo 2" pitchFamily="50" charset="0"/>
              </a:defRPr>
            </a:lvl1pPr>
            <a:lvl2pPr>
              <a:buClr>
                <a:srgbClr val="32B9CD"/>
              </a:buClr>
              <a:defRPr>
                <a:latin typeface="Exo 2" pitchFamily="50" charset="0"/>
              </a:defRPr>
            </a:lvl2pPr>
            <a:lvl3pPr>
              <a:buClr>
                <a:srgbClr val="32B9CD"/>
              </a:buClr>
              <a:defRPr>
                <a:latin typeface="Exo 2" pitchFamily="50" charset="0"/>
              </a:defRPr>
            </a:lvl3pPr>
            <a:lvl4pPr>
              <a:buClr>
                <a:srgbClr val="32B9CD"/>
              </a:buClr>
              <a:defRPr>
                <a:latin typeface="Exo 2" pitchFamily="50" charset="0"/>
              </a:defRPr>
            </a:lvl4pPr>
            <a:lvl5pPr>
              <a:buClr>
                <a:srgbClr val="32B9CD"/>
              </a:buClr>
              <a:defRPr>
                <a:latin typeface="Exo 2" pitchFamily="50" charset="0"/>
              </a:defRPr>
            </a:lvl5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sz="700" dirty="0"/>
          </a:p>
        </p:txBody>
      </p:sp>
      <p:sp>
        <p:nvSpPr>
          <p:cNvPr id="9" name="Freeform 6"/>
          <p:cNvSpPr>
            <a:spLocks/>
          </p:cNvSpPr>
          <p:nvPr/>
        </p:nvSpPr>
        <p:spPr bwMode="auto">
          <a:xfrm>
            <a:off x="1" y="1"/>
            <a:ext cx="240142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829885" y="108224"/>
            <a:ext cx="10137686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000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000">
                <a:latin typeface="Exo 2" pitchFamily="50" charset="0"/>
              </a:defRPr>
            </a:lvl2pPr>
            <a:lvl3pPr>
              <a:buNone/>
              <a:defRPr sz="3000">
                <a:latin typeface="Exo 2" pitchFamily="50" charset="0"/>
              </a:defRPr>
            </a:lvl3pPr>
            <a:lvl4pPr>
              <a:buNone/>
              <a:defRPr sz="3000">
                <a:latin typeface="Exo 2" pitchFamily="50" charset="0"/>
              </a:defRPr>
            </a:lvl4pPr>
            <a:lvl5pPr>
              <a:buNone/>
              <a:defRPr sz="3000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pic>
        <p:nvPicPr>
          <p:cNvPr id="11" name="Imagem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19" y="166075"/>
            <a:ext cx="168719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 Escur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299687" y="4212681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lang="pt-BR" sz="2205" dirty="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  <p:sp>
        <p:nvSpPr>
          <p:cNvPr id="12" name="Espaço Reservado para Conteúdo 11">
            <a:extLst>
              <a:ext uri="{FF2B5EF4-FFF2-40B4-BE49-F238E27FC236}">
                <a16:creationId xmlns:a16="http://schemas.microsoft.com/office/drawing/2014/main" id="{26DEE0F4-8ED5-4D67-A609-44882C5B2A2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93974" y="604902"/>
            <a:ext cx="6620654" cy="6364763"/>
          </a:xfrm>
          <a:prstGeom prst="rect">
            <a:avLst/>
          </a:prstGeom>
        </p:spPr>
        <p:txBody>
          <a:bodyPr/>
          <a:lstStyle>
            <a:lvl1pPr>
              <a:buClr>
                <a:schemeClr val="accent3"/>
              </a:buClr>
              <a:defRPr lang="pt-BR" sz="2205" dirty="0">
                <a:solidFill>
                  <a:schemeClr val="bg1"/>
                </a:solidFill>
              </a:defRPr>
            </a:lvl1pPr>
            <a:lvl2pPr>
              <a:buClr>
                <a:schemeClr val="accent3"/>
              </a:buClr>
              <a:defRPr lang="pt-BR" sz="2205" dirty="0">
                <a:solidFill>
                  <a:schemeClr val="bg1"/>
                </a:solidFill>
              </a:defRPr>
            </a:lvl2pPr>
            <a:lvl3pPr>
              <a:buClr>
                <a:schemeClr val="accent3"/>
              </a:buClr>
              <a:defRPr lang="pt-BR" sz="2205" dirty="0">
                <a:solidFill>
                  <a:schemeClr val="bg1"/>
                </a:solidFill>
              </a:defRPr>
            </a:lvl3pPr>
            <a:lvl4pPr>
              <a:buClr>
                <a:schemeClr val="accent3"/>
              </a:buClr>
              <a:defRPr lang="pt-BR" sz="2205" dirty="0">
                <a:solidFill>
                  <a:schemeClr val="bg1"/>
                </a:solidFill>
              </a:defRPr>
            </a:lvl4pPr>
            <a:lvl5pPr>
              <a:buClr>
                <a:schemeClr val="accent3"/>
              </a:buClr>
              <a:defRPr lang="pt-BR" sz="2205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19" name="Retângulo: Cantos Superiores Arredondados 18">
            <a:extLst>
              <a:ext uri="{FF2B5EF4-FFF2-40B4-BE49-F238E27FC236}">
                <a16:creationId xmlns:a16="http://schemas.microsoft.com/office/drawing/2014/main" id="{E654BDFE-993E-4AE9-A8FD-94DBF642B4BD}"/>
              </a:ext>
            </a:extLst>
          </p:cNvPr>
          <p:cNvSpPr/>
          <p:nvPr userDrawn="1"/>
        </p:nvSpPr>
        <p:spPr>
          <a:xfrm rot="10800000">
            <a:off x="0" y="0"/>
            <a:ext cx="395587" cy="195507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15"/>
          </a:p>
        </p:txBody>
      </p:sp>
      <p:sp>
        <p:nvSpPr>
          <p:cNvPr id="20" name="Retângulo: Cantos Superiores Arredondados 19">
            <a:extLst>
              <a:ext uri="{FF2B5EF4-FFF2-40B4-BE49-F238E27FC236}">
                <a16:creationId xmlns:a16="http://schemas.microsoft.com/office/drawing/2014/main" id="{C1C9C616-55CA-49E4-AE30-79F6F62C123B}"/>
              </a:ext>
            </a:extLst>
          </p:cNvPr>
          <p:cNvSpPr/>
          <p:nvPr userDrawn="1"/>
        </p:nvSpPr>
        <p:spPr>
          <a:xfrm>
            <a:off x="13047364" y="5606186"/>
            <a:ext cx="395587" cy="195507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15"/>
          </a:p>
        </p:txBody>
      </p:sp>
      <p:sp>
        <p:nvSpPr>
          <p:cNvPr id="7" name="Espaço Reservado para Texto 25">
            <a:extLst>
              <a:ext uri="{FF2B5EF4-FFF2-40B4-BE49-F238E27FC236}">
                <a16:creationId xmlns:a16="http://schemas.microsoft.com/office/drawing/2014/main" id="{07E07A09-2FCE-43FA-A020-C1A6E46B7E3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99687" y="1404368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lang="pt-BR" sz="2756" b="1" dirty="0">
                <a:solidFill>
                  <a:schemeClr val="accent3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</p:spTree>
    <p:extLst>
      <p:ext uri="{BB962C8B-B14F-4D97-AF65-F5344CB8AC3E}">
        <p14:creationId xmlns:p14="http://schemas.microsoft.com/office/powerpoint/2010/main" val="181123083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 Clar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299687" y="1404368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lang="pt-BR" sz="2756" b="1" dirty="0">
                <a:solidFill>
                  <a:schemeClr val="accent6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27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299687" y="4212681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lang="pt-BR" sz="2205" dirty="0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  <p:sp>
        <p:nvSpPr>
          <p:cNvPr id="12" name="Espaço Reservado para Conteúdo 11">
            <a:extLst>
              <a:ext uri="{FF2B5EF4-FFF2-40B4-BE49-F238E27FC236}">
                <a16:creationId xmlns:a16="http://schemas.microsoft.com/office/drawing/2014/main" id="{26DEE0F4-8ED5-4D67-A609-44882C5B2A2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93974" y="604902"/>
            <a:ext cx="6620654" cy="6364763"/>
          </a:xfrm>
          <a:prstGeom prst="rect">
            <a:avLst/>
          </a:prstGeom>
        </p:spPr>
        <p:txBody>
          <a:bodyPr/>
          <a:lstStyle>
            <a:lvl1pPr>
              <a:buClr>
                <a:schemeClr val="accent3"/>
              </a:buClr>
              <a:defRPr lang="pt-BR" sz="2205" dirty="0">
                <a:solidFill>
                  <a:schemeClr val="accent1"/>
                </a:solidFill>
              </a:defRPr>
            </a:lvl1pPr>
            <a:lvl2pPr>
              <a:buClr>
                <a:schemeClr val="accent3"/>
              </a:buClr>
              <a:defRPr lang="pt-BR" sz="2205" dirty="0">
                <a:solidFill>
                  <a:schemeClr val="accent1"/>
                </a:solidFill>
              </a:defRPr>
            </a:lvl2pPr>
            <a:lvl3pPr>
              <a:buClr>
                <a:schemeClr val="accent3"/>
              </a:buClr>
              <a:defRPr lang="pt-BR" sz="2205" dirty="0">
                <a:solidFill>
                  <a:schemeClr val="accent1"/>
                </a:solidFill>
              </a:defRPr>
            </a:lvl3pPr>
            <a:lvl4pPr>
              <a:buClr>
                <a:schemeClr val="accent3"/>
              </a:buClr>
              <a:defRPr lang="pt-BR" sz="2205" dirty="0">
                <a:solidFill>
                  <a:schemeClr val="accent1"/>
                </a:solidFill>
              </a:defRPr>
            </a:lvl4pPr>
            <a:lvl5pPr>
              <a:buClr>
                <a:schemeClr val="accent3"/>
              </a:buClr>
              <a:defRPr lang="pt-BR" sz="2205" dirty="0">
                <a:solidFill>
                  <a:schemeClr val="accent1"/>
                </a:solidFill>
              </a:defRPr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19" name="Retângulo: Cantos Superiores Arredondados 18">
            <a:extLst>
              <a:ext uri="{FF2B5EF4-FFF2-40B4-BE49-F238E27FC236}">
                <a16:creationId xmlns:a16="http://schemas.microsoft.com/office/drawing/2014/main" id="{E654BDFE-993E-4AE9-A8FD-94DBF642B4BD}"/>
              </a:ext>
            </a:extLst>
          </p:cNvPr>
          <p:cNvSpPr/>
          <p:nvPr userDrawn="1"/>
        </p:nvSpPr>
        <p:spPr>
          <a:xfrm rot="10800000">
            <a:off x="0" y="0"/>
            <a:ext cx="395587" cy="195507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15"/>
          </a:p>
        </p:txBody>
      </p:sp>
      <p:sp>
        <p:nvSpPr>
          <p:cNvPr id="20" name="Retângulo: Cantos Superiores Arredondados 19">
            <a:extLst>
              <a:ext uri="{FF2B5EF4-FFF2-40B4-BE49-F238E27FC236}">
                <a16:creationId xmlns:a16="http://schemas.microsoft.com/office/drawing/2014/main" id="{C1C9C616-55CA-49E4-AE30-79F6F62C123B}"/>
              </a:ext>
            </a:extLst>
          </p:cNvPr>
          <p:cNvSpPr/>
          <p:nvPr userDrawn="1"/>
        </p:nvSpPr>
        <p:spPr>
          <a:xfrm>
            <a:off x="13047364" y="5606186"/>
            <a:ext cx="395587" cy="195507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15"/>
          </a:p>
        </p:txBody>
      </p:sp>
    </p:spTree>
    <p:extLst>
      <p:ext uri="{BB962C8B-B14F-4D97-AF65-F5344CB8AC3E}">
        <p14:creationId xmlns:p14="http://schemas.microsoft.com/office/powerpoint/2010/main" val="3880667742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Texto Espaço Escur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135473" y="1404368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lang="pt-BR" sz="2756" b="1" dirty="0">
                <a:solidFill>
                  <a:schemeClr val="accent3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16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135473" y="4212681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lang="pt-BR" sz="2205" dirty="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  <p:pic>
        <p:nvPicPr>
          <p:cNvPr id="2" name="Imagem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98716" y="2132464"/>
            <a:ext cx="1871270" cy="1190750"/>
          </a:xfrm>
          <a:prstGeom prst="rect">
            <a:avLst/>
          </a:prstGeom>
        </p:spPr>
      </p:pic>
      <p:sp>
        <p:nvSpPr>
          <p:cNvPr id="8" name="Retângulo 7">
            <a:extLst>
              <a:ext uri="{FF2B5EF4-FFF2-40B4-BE49-F238E27FC236}">
                <a16:creationId xmlns:a16="http://schemas.microsoft.com/office/drawing/2014/main" id="{D5608DCB-EEB0-440C-968D-6FAB62CB3217}"/>
              </a:ext>
            </a:extLst>
          </p:cNvPr>
          <p:cNvSpPr/>
          <p:nvPr userDrawn="1"/>
        </p:nvSpPr>
        <p:spPr>
          <a:xfrm>
            <a:off x="1" y="0"/>
            <a:ext cx="2282501" cy="75612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15"/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22F756E8-F561-4B4E-9348-684EB6A4652C}"/>
              </a:ext>
            </a:extLst>
          </p:cNvPr>
          <p:cNvSpPr/>
          <p:nvPr userDrawn="1"/>
        </p:nvSpPr>
        <p:spPr>
          <a:xfrm>
            <a:off x="13064867" y="7183200"/>
            <a:ext cx="378083" cy="37806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15"/>
          </a:p>
        </p:txBody>
      </p:sp>
    </p:spTree>
    <p:extLst>
      <p:ext uri="{BB962C8B-B14F-4D97-AF65-F5344CB8AC3E}">
        <p14:creationId xmlns:p14="http://schemas.microsoft.com/office/powerpoint/2010/main" val="1111303866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Texto Espaço  Clar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135473" y="1404368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lang="pt-BR" sz="2756" b="1" dirty="0">
                <a:solidFill>
                  <a:schemeClr val="accent6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16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135473" y="4212681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lang="pt-BR" sz="2205" dirty="0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D5608DCB-EEB0-440C-968D-6FAB62CB3217}"/>
              </a:ext>
            </a:extLst>
          </p:cNvPr>
          <p:cNvSpPr/>
          <p:nvPr userDrawn="1"/>
        </p:nvSpPr>
        <p:spPr>
          <a:xfrm>
            <a:off x="1" y="0"/>
            <a:ext cx="2282501" cy="75612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15"/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22F756E8-F561-4B4E-9348-684EB6A4652C}"/>
              </a:ext>
            </a:extLst>
          </p:cNvPr>
          <p:cNvSpPr/>
          <p:nvPr userDrawn="1"/>
        </p:nvSpPr>
        <p:spPr>
          <a:xfrm>
            <a:off x="13064867" y="7183200"/>
            <a:ext cx="378083" cy="37806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15"/>
          </a:p>
        </p:txBody>
      </p:sp>
      <p:grpSp>
        <p:nvGrpSpPr>
          <p:cNvPr id="5" name="Gráfico 3">
            <a:extLst>
              <a:ext uri="{FF2B5EF4-FFF2-40B4-BE49-F238E27FC236}">
                <a16:creationId xmlns:a16="http://schemas.microsoft.com/office/drawing/2014/main" id="{B1D91E55-8CB1-4C11-B1F4-17DD47E9A796}"/>
              </a:ext>
            </a:extLst>
          </p:cNvPr>
          <p:cNvGrpSpPr/>
          <p:nvPr/>
        </p:nvGrpSpPr>
        <p:grpSpPr>
          <a:xfrm>
            <a:off x="8275527" y="2461360"/>
            <a:ext cx="1352073" cy="694330"/>
            <a:chOff x="4147095" y="2428093"/>
            <a:chExt cx="3897808" cy="2001745"/>
          </a:xfrm>
        </p:grpSpPr>
        <p:grpSp>
          <p:nvGrpSpPr>
            <p:cNvPr id="6" name="Gráfico 3">
              <a:extLst>
                <a:ext uri="{FF2B5EF4-FFF2-40B4-BE49-F238E27FC236}">
                  <a16:creationId xmlns:a16="http://schemas.microsoft.com/office/drawing/2014/main" id="{9265E498-5777-425B-B2DC-DDFAFD701F91}"/>
                </a:ext>
              </a:extLst>
            </p:cNvPr>
            <p:cNvGrpSpPr/>
            <p:nvPr/>
          </p:nvGrpSpPr>
          <p:grpSpPr>
            <a:xfrm>
              <a:off x="6368511" y="2428093"/>
              <a:ext cx="1676392" cy="2000942"/>
              <a:chOff x="6368511" y="2428093"/>
              <a:chExt cx="1676392" cy="2000942"/>
            </a:xfrm>
            <a:solidFill>
              <a:srgbClr val="1F2A44"/>
            </a:solidFill>
          </p:grpSpPr>
          <p:sp>
            <p:nvSpPr>
              <p:cNvPr id="7" name="Forma Livre: Forma 6">
                <a:extLst>
                  <a:ext uri="{FF2B5EF4-FFF2-40B4-BE49-F238E27FC236}">
                    <a16:creationId xmlns:a16="http://schemas.microsoft.com/office/drawing/2014/main" id="{10965B03-8C75-4AE6-BD56-104FEC707D29}"/>
                  </a:ext>
                </a:extLst>
              </p:cNvPr>
              <p:cNvSpPr/>
              <p:nvPr/>
            </p:nvSpPr>
            <p:spPr>
              <a:xfrm>
                <a:off x="6368511" y="2502768"/>
                <a:ext cx="224090" cy="367746"/>
              </a:xfrm>
              <a:custGeom>
                <a:avLst/>
                <a:gdLst>
                  <a:gd name="connsiteX0" fmla="*/ 0 w 224090"/>
                  <a:gd name="connsiteY0" fmla="*/ 256907 h 367746"/>
                  <a:gd name="connsiteX1" fmla="*/ 40451 w 224090"/>
                  <a:gd name="connsiteY1" fmla="*/ 256907 h 367746"/>
                  <a:gd name="connsiteX2" fmla="*/ 115997 w 224090"/>
                  <a:gd name="connsiteY2" fmla="*/ 328903 h 367746"/>
                  <a:gd name="connsiteX3" fmla="*/ 184443 w 224090"/>
                  <a:gd name="connsiteY3" fmla="*/ 272177 h 367746"/>
                  <a:gd name="connsiteX4" fmla="*/ 126645 w 224090"/>
                  <a:gd name="connsiteY4" fmla="*/ 209423 h 367746"/>
                  <a:gd name="connsiteX5" fmla="*/ 81238 w 224090"/>
                  <a:gd name="connsiteY5" fmla="*/ 196632 h 367746"/>
                  <a:gd name="connsiteX6" fmla="*/ 6094 w 224090"/>
                  <a:gd name="connsiteY6" fmla="*/ 95034 h 367746"/>
                  <a:gd name="connsiteX7" fmla="*/ 111777 w 224090"/>
                  <a:gd name="connsiteY7" fmla="*/ 0 h 367746"/>
                  <a:gd name="connsiteX8" fmla="*/ 219536 w 224090"/>
                  <a:gd name="connsiteY8" fmla="*/ 95570 h 367746"/>
                  <a:gd name="connsiteX9" fmla="*/ 179085 w 224090"/>
                  <a:gd name="connsiteY9" fmla="*/ 95570 h 367746"/>
                  <a:gd name="connsiteX10" fmla="*/ 111710 w 224090"/>
                  <a:gd name="connsiteY10" fmla="*/ 38844 h 367746"/>
                  <a:gd name="connsiteX11" fmla="*/ 45742 w 224090"/>
                  <a:gd name="connsiteY11" fmla="*/ 95034 h 367746"/>
                  <a:gd name="connsiteX12" fmla="*/ 98919 w 224090"/>
                  <a:gd name="connsiteY12" fmla="*/ 158323 h 367746"/>
                  <a:gd name="connsiteX13" fmla="*/ 140777 w 224090"/>
                  <a:gd name="connsiteY13" fmla="*/ 170043 h 367746"/>
                  <a:gd name="connsiteX14" fmla="*/ 224091 w 224090"/>
                  <a:gd name="connsiteY14" fmla="*/ 272177 h 367746"/>
                  <a:gd name="connsiteX15" fmla="*/ 115796 w 224090"/>
                  <a:gd name="connsiteY15" fmla="*/ 367747 h 367746"/>
                  <a:gd name="connsiteX16" fmla="*/ 0 w 224090"/>
                  <a:gd name="connsiteY16" fmla="*/ 256907 h 367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24090" h="367746">
                    <a:moveTo>
                      <a:pt x="0" y="256907"/>
                    </a:moveTo>
                    <a:lnTo>
                      <a:pt x="40451" y="256907"/>
                    </a:lnTo>
                    <a:cubicBezTo>
                      <a:pt x="46680" y="302850"/>
                      <a:pt x="77688" y="328903"/>
                      <a:pt x="115997" y="328903"/>
                    </a:cubicBezTo>
                    <a:cubicBezTo>
                      <a:pt x="156448" y="328903"/>
                      <a:pt x="184443" y="309949"/>
                      <a:pt x="184443" y="272177"/>
                    </a:cubicBezTo>
                    <a:cubicBezTo>
                      <a:pt x="184443" y="239896"/>
                      <a:pt x="167097" y="220608"/>
                      <a:pt x="126645" y="209423"/>
                    </a:cubicBezTo>
                    <a:lnTo>
                      <a:pt x="81238" y="196632"/>
                    </a:lnTo>
                    <a:cubicBezTo>
                      <a:pt x="28062" y="181764"/>
                      <a:pt x="6094" y="138499"/>
                      <a:pt x="6094" y="95034"/>
                    </a:cubicBezTo>
                    <a:cubicBezTo>
                      <a:pt x="6094" y="33687"/>
                      <a:pt x="54650" y="0"/>
                      <a:pt x="111777" y="0"/>
                    </a:cubicBezTo>
                    <a:cubicBezTo>
                      <a:pt x="173660" y="0"/>
                      <a:pt x="211969" y="34759"/>
                      <a:pt x="219536" y="95570"/>
                    </a:cubicBezTo>
                    <a:lnTo>
                      <a:pt x="179085" y="95570"/>
                    </a:lnTo>
                    <a:cubicBezTo>
                      <a:pt x="171450" y="61347"/>
                      <a:pt x="150019" y="38844"/>
                      <a:pt x="111710" y="38844"/>
                    </a:cubicBezTo>
                    <a:cubicBezTo>
                      <a:pt x="68781" y="38844"/>
                      <a:pt x="45742" y="63825"/>
                      <a:pt x="45742" y="95034"/>
                    </a:cubicBezTo>
                    <a:cubicBezTo>
                      <a:pt x="45742" y="127650"/>
                      <a:pt x="62084" y="148210"/>
                      <a:pt x="98919" y="158323"/>
                    </a:cubicBezTo>
                    <a:lnTo>
                      <a:pt x="140777" y="170043"/>
                    </a:lnTo>
                    <a:cubicBezTo>
                      <a:pt x="191274" y="184376"/>
                      <a:pt x="224091" y="215451"/>
                      <a:pt x="224091" y="272177"/>
                    </a:cubicBezTo>
                    <a:cubicBezTo>
                      <a:pt x="224091" y="329439"/>
                      <a:pt x="187389" y="367747"/>
                      <a:pt x="115796" y="367747"/>
                    </a:cubicBezTo>
                    <a:cubicBezTo>
                      <a:pt x="51234" y="367881"/>
                      <a:pt x="5090" y="325353"/>
                      <a:pt x="0" y="256907"/>
                    </a:cubicBez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10" name="Forma Livre: Forma 9">
                <a:extLst>
                  <a:ext uri="{FF2B5EF4-FFF2-40B4-BE49-F238E27FC236}">
                    <a16:creationId xmlns:a16="http://schemas.microsoft.com/office/drawing/2014/main" id="{E83EC162-BEB7-4D27-83EB-29B82BDE9816}"/>
                  </a:ext>
                </a:extLst>
              </p:cNvPr>
              <p:cNvSpPr/>
              <p:nvPr/>
            </p:nvSpPr>
            <p:spPr>
              <a:xfrm>
                <a:off x="6626423" y="2428093"/>
                <a:ext cx="274721" cy="437398"/>
              </a:xfrm>
              <a:custGeom>
                <a:avLst/>
                <a:gdLst>
                  <a:gd name="connsiteX0" fmla="*/ 202324 w 274721"/>
                  <a:gd name="connsiteY0" fmla="*/ 336672 h 437398"/>
                  <a:gd name="connsiteX1" fmla="*/ 72532 w 274721"/>
                  <a:gd name="connsiteY1" fmla="*/ 336672 h 437398"/>
                  <a:gd name="connsiteX2" fmla="*/ 39915 w 274721"/>
                  <a:gd name="connsiteY2" fmla="*/ 437398 h 437398"/>
                  <a:gd name="connsiteX3" fmla="*/ 0 w 274721"/>
                  <a:gd name="connsiteY3" fmla="*/ 437398 h 437398"/>
                  <a:gd name="connsiteX4" fmla="*/ 114858 w 274721"/>
                  <a:gd name="connsiteY4" fmla="*/ 79832 h 437398"/>
                  <a:gd name="connsiteX5" fmla="*/ 159864 w 274721"/>
                  <a:gd name="connsiteY5" fmla="*/ 79832 h 437398"/>
                  <a:gd name="connsiteX6" fmla="*/ 274722 w 274721"/>
                  <a:gd name="connsiteY6" fmla="*/ 437398 h 437398"/>
                  <a:gd name="connsiteX7" fmla="*/ 234806 w 274721"/>
                  <a:gd name="connsiteY7" fmla="*/ 437398 h 437398"/>
                  <a:gd name="connsiteX8" fmla="*/ 202324 w 274721"/>
                  <a:gd name="connsiteY8" fmla="*/ 336672 h 437398"/>
                  <a:gd name="connsiteX9" fmla="*/ 156917 w 274721"/>
                  <a:gd name="connsiteY9" fmla="*/ 58333 h 437398"/>
                  <a:gd name="connsiteX10" fmla="*/ 116466 w 274721"/>
                  <a:gd name="connsiteY10" fmla="*/ 29267 h 437398"/>
                  <a:gd name="connsiteX11" fmla="*/ 61883 w 274721"/>
                  <a:gd name="connsiteY11" fmla="*/ 58333 h 437398"/>
                  <a:gd name="connsiteX12" fmla="*/ 50162 w 274721"/>
                  <a:gd name="connsiteY12" fmla="*/ 36366 h 437398"/>
                  <a:gd name="connsiteX13" fmla="*/ 118073 w 274721"/>
                  <a:gd name="connsiteY13" fmla="*/ 0 h 437398"/>
                  <a:gd name="connsiteX14" fmla="*/ 158524 w 274721"/>
                  <a:gd name="connsiteY14" fmla="*/ 29066 h 437398"/>
                  <a:gd name="connsiteX15" fmla="*/ 213107 w 274721"/>
                  <a:gd name="connsiteY15" fmla="*/ 0 h 437398"/>
                  <a:gd name="connsiteX16" fmla="*/ 224827 w 274721"/>
                  <a:gd name="connsiteY16" fmla="*/ 21967 h 437398"/>
                  <a:gd name="connsiteX17" fmla="*/ 156917 w 274721"/>
                  <a:gd name="connsiteY17" fmla="*/ 58333 h 437398"/>
                  <a:gd name="connsiteX18" fmla="*/ 137428 w 274721"/>
                  <a:gd name="connsiteY18" fmla="*/ 134414 h 437398"/>
                  <a:gd name="connsiteX19" fmla="*/ 84252 w 274721"/>
                  <a:gd name="connsiteY19" fmla="*/ 300372 h 437398"/>
                  <a:gd name="connsiteX20" fmla="*/ 190470 w 274721"/>
                  <a:gd name="connsiteY20" fmla="*/ 300372 h 437398"/>
                  <a:gd name="connsiteX21" fmla="*/ 137428 w 274721"/>
                  <a:gd name="connsiteY21" fmla="*/ 134414 h 437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74721" h="437398">
                    <a:moveTo>
                      <a:pt x="202324" y="336672"/>
                    </a:moveTo>
                    <a:lnTo>
                      <a:pt x="72532" y="336672"/>
                    </a:lnTo>
                    <a:lnTo>
                      <a:pt x="39915" y="437398"/>
                    </a:lnTo>
                    <a:lnTo>
                      <a:pt x="0" y="437398"/>
                    </a:lnTo>
                    <a:lnTo>
                      <a:pt x="114858" y="79832"/>
                    </a:lnTo>
                    <a:lnTo>
                      <a:pt x="159864" y="79832"/>
                    </a:lnTo>
                    <a:lnTo>
                      <a:pt x="274722" y="437398"/>
                    </a:lnTo>
                    <a:lnTo>
                      <a:pt x="234806" y="437398"/>
                    </a:lnTo>
                    <a:lnTo>
                      <a:pt x="202324" y="336672"/>
                    </a:lnTo>
                    <a:close/>
                    <a:moveTo>
                      <a:pt x="156917" y="58333"/>
                    </a:moveTo>
                    <a:lnTo>
                      <a:pt x="116466" y="29267"/>
                    </a:lnTo>
                    <a:lnTo>
                      <a:pt x="61883" y="58333"/>
                    </a:lnTo>
                    <a:lnTo>
                      <a:pt x="50162" y="36366"/>
                    </a:lnTo>
                    <a:lnTo>
                      <a:pt x="118073" y="0"/>
                    </a:lnTo>
                    <a:lnTo>
                      <a:pt x="158524" y="29066"/>
                    </a:lnTo>
                    <a:lnTo>
                      <a:pt x="213107" y="0"/>
                    </a:lnTo>
                    <a:lnTo>
                      <a:pt x="224827" y="21967"/>
                    </a:lnTo>
                    <a:lnTo>
                      <a:pt x="156917" y="58333"/>
                    </a:lnTo>
                    <a:close/>
                    <a:moveTo>
                      <a:pt x="137428" y="134414"/>
                    </a:moveTo>
                    <a:lnTo>
                      <a:pt x="84252" y="300372"/>
                    </a:lnTo>
                    <a:lnTo>
                      <a:pt x="190470" y="300372"/>
                    </a:lnTo>
                    <a:lnTo>
                      <a:pt x="137428" y="134414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11" name="Forma Livre: Forma 10">
                <a:extLst>
                  <a:ext uri="{FF2B5EF4-FFF2-40B4-BE49-F238E27FC236}">
                    <a16:creationId xmlns:a16="http://schemas.microsoft.com/office/drawing/2014/main" id="{0CA57818-E2E3-4DEA-99DC-A6A1CA58F751}"/>
                  </a:ext>
                </a:extLst>
              </p:cNvPr>
              <p:cNvSpPr/>
              <p:nvPr/>
            </p:nvSpPr>
            <p:spPr>
              <a:xfrm>
                <a:off x="6928402" y="2502768"/>
                <a:ext cx="230787" cy="367880"/>
              </a:xfrm>
              <a:custGeom>
                <a:avLst/>
                <a:gdLst>
                  <a:gd name="connsiteX0" fmla="*/ 230788 w 230787"/>
                  <a:gd name="connsiteY0" fmla="*/ 246794 h 367880"/>
                  <a:gd name="connsiteX1" fmla="*/ 115394 w 230787"/>
                  <a:gd name="connsiteY1" fmla="*/ 367881 h 367880"/>
                  <a:gd name="connsiteX2" fmla="*/ 0 w 230787"/>
                  <a:gd name="connsiteY2" fmla="*/ 246794 h 367880"/>
                  <a:gd name="connsiteX3" fmla="*/ 0 w 230787"/>
                  <a:gd name="connsiteY3" fmla="*/ 121086 h 367880"/>
                  <a:gd name="connsiteX4" fmla="*/ 115394 w 230787"/>
                  <a:gd name="connsiteY4" fmla="*/ 0 h 367880"/>
                  <a:gd name="connsiteX5" fmla="*/ 230788 w 230787"/>
                  <a:gd name="connsiteY5" fmla="*/ 121086 h 367880"/>
                  <a:gd name="connsiteX6" fmla="*/ 230788 w 230787"/>
                  <a:gd name="connsiteY6" fmla="*/ 246794 h 367880"/>
                  <a:gd name="connsiteX7" fmla="*/ 191609 w 230787"/>
                  <a:gd name="connsiteY7" fmla="*/ 121086 h 367880"/>
                  <a:gd name="connsiteX8" fmla="*/ 115528 w 230787"/>
                  <a:gd name="connsiteY8" fmla="*/ 38844 h 367880"/>
                  <a:gd name="connsiteX9" fmla="*/ 39447 w 230787"/>
                  <a:gd name="connsiteY9" fmla="*/ 121086 h 367880"/>
                  <a:gd name="connsiteX10" fmla="*/ 39447 w 230787"/>
                  <a:gd name="connsiteY10" fmla="*/ 246794 h 367880"/>
                  <a:gd name="connsiteX11" fmla="*/ 115528 w 230787"/>
                  <a:gd name="connsiteY11" fmla="*/ 329037 h 367880"/>
                  <a:gd name="connsiteX12" fmla="*/ 191609 w 230787"/>
                  <a:gd name="connsiteY12" fmla="*/ 246794 h 367880"/>
                  <a:gd name="connsiteX13" fmla="*/ 191609 w 230787"/>
                  <a:gd name="connsiteY13" fmla="*/ 121086 h 36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30787" h="367880">
                    <a:moveTo>
                      <a:pt x="230788" y="246794"/>
                    </a:moveTo>
                    <a:cubicBezTo>
                      <a:pt x="230788" y="321937"/>
                      <a:pt x="183840" y="367881"/>
                      <a:pt x="115394" y="367881"/>
                    </a:cubicBezTo>
                    <a:cubicBezTo>
                      <a:pt x="46948" y="367881"/>
                      <a:pt x="0" y="321937"/>
                      <a:pt x="0" y="246794"/>
                    </a:cubicBezTo>
                    <a:lnTo>
                      <a:pt x="0" y="121086"/>
                    </a:lnTo>
                    <a:cubicBezTo>
                      <a:pt x="0" y="45943"/>
                      <a:pt x="46948" y="0"/>
                      <a:pt x="115394" y="0"/>
                    </a:cubicBezTo>
                    <a:cubicBezTo>
                      <a:pt x="183840" y="0"/>
                      <a:pt x="230788" y="45943"/>
                      <a:pt x="230788" y="121086"/>
                    </a:cubicBezTo>
                    <a:lnTo>
                      <a:pt x="230788" y="246794"/>
                    </a:lnTo>
                    <a:close/>
                    <a:moveTo>
                      <a:pt x="191609" y="121086"/>
                    </a:moveTo>
                    <a:cubicBezTo>
                      <a:pt x="191609" y="67039"/>
                      <a:pt x="157922" y="38844"/>
                      <a:pt x="115528" y="38844"/>
                    </a:cubicBezTo>
                    <a:cubicBezTo>
                      <a:pt x="73134" y="38844"/>
                      <a:pt x="39447" y="66839"/>
                      <a:pt x="39447" y="121086"/>
                    </a:cubicBezTo>
                    <a:lnTo>
                      <a:pt x="39447" y="246794"/>
                    </a:lnTo>
                    <a:cubicBezTo>
                      <a:pt x="39447" y="300841"/>
                      <a:pt x="73134" y="329037"/>
                      <a:pt x="115528" y="329037"/>
                    </a:cubicBezTo>
                    <a:cubicBezTo>
                      <a:pt x="157922" y="329037"/>
                      <a:pt x="191609" y="301042"/>
                      <a:pt x="191609" y="246794"/>
                    </a:cubicBezTo>
                    <a:lnTo>
                      <a:pt x="191609" y="121086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12" name="Forma Livre: Forma 11">
                <a:extLst>
                  <a:ext uri="{FF2B5EF4-FFF2-40B4-BE49-F238E27FC236}">
                    <a16:creationId xmlns:a16="http://schemas.microsoft.com/office/drawing/2014/main" id="{8D7C0657-8E69-4414-A868-097297C047E9}"/>
                  </a:ext>
                </a:extLst>
              </p:cNvPr>
              <p:cNvSpPr/>
              <p:nvPr/>
            </p:nvSpPr>
            <p:spPr>
              <a:xfrm>
                <a:off x="6380834" y="3027364"/>
                <a:ext cx="230787" cy="357567"/>
              </a:xfrm>
              <a:custGeom>
                <a:avLst/>
                <a:gdLst>
                  <a:gd name="connsiteX0" fmla="*/ 115461 w 230787"/>
                  <a:gd name="connsiteY0" fmla="*/ 218599 h 357567"/>
                  <a:gd name="connsiteX1" fmla="*/ 39380 w 230787"/>
                  <a:gd name="connsiteY1" fmla="*/ 218599 h 357567"/>
                  <a:gd name="connsiteX2" fmla="*/ 39380 w 230787"/>
                  <a:gd name="connsiteY2" fmla="*/ 357567 h 357567"/>
                  <a:gd name="connsiteX3" fmla="*/ 0 w 230787"/>
                  <a:gd name="connsiteY3" fmla="*/ 357567 h 357567"/>
                  <a:gd name="connsiteX4" fmla="*/ 0 w 230787"/>
                  <a:gd name="connsiteY4" fmla="*/ 0 h 357567"/>
                  <a:gd name="connsiteX5" fmla="*/ 115394 w 230787"/>
                  <a:gd name="connsiteY5" fmla="*/ 0 h 357567"/>
                  <a:gd name="connsiteX6" fmla="*/ 230788 w 230787"/>
                  <a:gd name="connsiteY6" fmla="*/ 109366 h 357567"/>
                  <a:gd name="connsiteX7" fmla="*/ 115461 w 230787"/>
                  <a:gd name="connsiteY7" fmla="*/ 218599 h 357567"/>
                  <a:gd name="connsiteX8" fmla="*/ 115461 w 230787"/>
                  <a:gd name="connsiteY8" fmla="*/ 38844 h 357567"/>
                  <a:gd name="connsiteX9" fmla="*/ 39380 w 230787"/>
                  <a:gd name="connsiteY9" fmla="*/ 38844 h 357567"/>
                  <a:gd name="connsiteX10" fmla="*/ 39380 w 230787"/>
                  <a:gd name="connsiteY10" fmla="*/ 179755 h 357567"/>
                  <a:gd name="connsiteX11" fmla="*/ 115461 w 230787"/>
                  <a:gd name="connsiteY11" fmla="*/ 179755 h 357567"/>
                  <a:gd name="connsiteX12" fmla="*/ 190604 w 230787"/>
                  <a:gd name="connsiteY12" fmla="*/ 109165 h 357567"/>
                  <a:gd name="connsiteX13" fmla="*/ 115461 w 230787"/>
                  <a:gd name="connsiteY13" fmla="*/ 38844 h 357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30787" h="357567">
                    <a:moveTo>
                      <a:pt x="115461" y="218599"/>
                    </a:moveTo>
                    <a:lnTo>
                      <a:pt x="39380" y="218599"/>
                    </a:lnTo>
                    <a:lnTo>
                      <a:pt x="39380" y="357567"/>
                    </a:lnTo>
                    <a:lnTo>
                      <a:pt x="0" y="357567"/>
                    </a:lnTo>
                    <a:lnTo>
                      <a:pt x="0" y="0"/>
                    </a:lnTo>
                    <a:lnTo>
                      <a:pt x="115394" y="0"/>
                    </a:lnTo>
                    <a:cubicBezTo>
                      <a:pt x="198172" y="0"/>
                      <a:pt x="230788" y="45943"/>
                      <a:pt x="230788" y="109366"/>
                    </a:cubicBezTo>
                    <a:cubicBezTo>
                      <a:pt x="230922" y="172656"/>
                      <a:pt x="198105" y="218599"/>
                      <a:pt x="115461" y="218599"/>
                    </a:cubicBezTo>
                    <a:close/>
                    <a:moveTo>
                      <a:pt x="115461" y="38844"/>
                    </a:moveTo>
                    <a:lnTo>
                      <a:pt x="39380" y="38844"/>
                    </a:lnTo>
                    <a:lnTo>
                      <a:pt x="39380" y="179755"/>
                    </a:lnTo>
                    <a:lnTo>
                      <a:pt x="115461" y="179755"/>
                    </a:lnTo>
                    <a:cubicBezTo>
                      <a:pt x="170579" y="179755"/>
                      <a:pt x="190604" y="148010"/>
                      <a:pt x="190604" y="109165"/>
                    </a:cubicBezTo>
                    <a:cubicBezTo>
                      <a:pt x="190470" y="70522"/>
                      <a:pt x="170646" y="38844"/>
                      <a:pt x="115461" y="38844"/>
                    </a:cubicBez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13" name="Forma Livre: Forma 12">
                <a:extLst>
                  <a:ext uri="{FF2B5EF4-FFF2-40B4-BE49-F238E27FC236}">
                    <a16:creationId xmlns:a16="http://schemas.microsoft.com/office/drawing/2014/main" id="{6B23DBFE-605E-4264-A9E8-FB56675FE1B7}"/>
                  </a:ext>
                </a:extLst>
              </p:cNvPr>
              <p:cNvSpPr/>
              <p:nvPr/>
            </p:nvSpPr>
            <p:spPr>
              <a:xfrm>
                <a:off x="6616310" y="3027432"/>
                <a:ext cx="274721" cy="357566"/>
              </a:xfrm>
              <a:custGeom>
                <a:avLst/>
                <a:gdLst>
                  <a:gd name="connsiteX0" fmla="*/ 202325 w 274721"/>
                  <a:gd name="connsiteY0" fmla="*/ 256840 h 357566"/>
                  <a:gd name="connsiteX1" fmla="*/ 72532 w 274721"/>
                  <a:gd name="connsiteY1" fmla="*/ 256840 h 357566"/>
                  <a:gd name="connsiteX2" fmla="*/ 39916 w 274721"/>
                  <a:gd name="connsiteY2" fmla="*/ 357567 h 357566"/>
                  <a:gd name="connsiteX3" fmla="*/ 0 w 274721"/>
                  <a:gd name="connsiteY3" fmla="*/ 357567 h 357566"/>
                  <a:gd name="connsiteX4" fmla="*/ 114858 w 274721"/>
                  <a:gd name="connsiteY4" fmla="*/ 0 h 357566"/>
                  <a:gd name="connsiteX5" fmla="*/ 159864 w 274721"/>
                  <a:gd name="connsiteY5" fmla="*/ 0 h 357566"/>
                  <a:gd name="connsiteX6" fmla="*/ 274722 w 274721"/>
                  <a:gd name="connsiteY6" fmla="*/ 357567 h 357566"/>
                  <a:gd name="connsiteX7" fmla="*/ 234806 w 274721"/>
                  <a:gd name="connsiteY7" fmla="*/ 357567 h 357566"/>
                  <a:gd name="connsiteX8" fmla="*/ 202325 w 274721"/>
                  <a:gd name="connsiteY8" fmla="*/ 256840 h 357566"/>
                  <a:gd name="connsiteX9" fmla="*/ 137428 w 274721"/>
                  <a:gd name="connsiteY9" fmla="*/ 54516 h 357566"/>
                  <a:gd name="connsiteX10" fmla="*/ 84252 w 274721"/>
                  <a:gd name="connsiteY10" fmla="*/ 220474 h 357566"/>
                  <a:gd name="connsiteX11" fmla="*/ 190470 w 274721"/>
                  <a:gd name="connsiteY11" fmla="*/ 220474 h 357566"/>
                  <a:gd name="connsiteX12" fmla="*/ 137428 w 274721"/>
                  <a:gd name="connsiteY12" fmla="*/ 54516 h 357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74721" h="357566">
                    <a:moveTo>
                      <a:pt x="202325" y="256840"/>
                    </a:moveTo>
                    <a:lnTo>
                      <a:pt x="72532" y="256840"/>
                    </a:lnTo>
                    <a:lnTo>
                      <a:pt x="39916" y="357567"/>
                    </a:lnTo>
                    <a:lnTo>
                      <a:pt x="0" y="357567"/>
                    </a:lnTo>
                    <a:lnTo>
                      <a:pt x="114858" y="0"/>
                    </a:lnTo>
                    <a:lnTo>
                      <a:pt x="159864" y="0"/>
                    </a:lnTo>
                    <a:lnTo>
                      <a:pt x="274722" y="357567"/>
                    </a:lnTo>
                    <a:lnTo>
                      <a:pt x="234806" y="357567"/>
                    </a:lnTo>
                    <a:lnTo>
                      <a:pt x="202325" y="256840"/>
                    </a:lnTo>
                    <a:close/>
                    <a:moveTo>
                      <a:pt x="137428" y="54516"/>
                    </a:moveTo>
                    <a:lnTo>
                      <a:pt x="84252" y="220474"/>
                    </a:lnTo>
                    <a:lnTo>
                      <a:pt x="190470" y="220474"/>
                    </a:lnTo>
                    <a:lnTo>
                      <a:pt x="137428" y="54516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14" name="Forma Livre: Forma 13">
                <a:extLst>
                  <a:ext uri="{FF2B5EF4-FFF2-40B4-BE49-F238E27FC236}">
                    <a16:creationId xmlns:a16="http://schemas.microsoft.com/office/drawing/2014/main" id="{747F8706-4507-4AC6-8E76-E656E9F10393}"/>
                  </a:ext>
                </a:extLst>
              </p:cNvPr>
              <p:cNvSpPr/>
              <p:nvPr/>
            </p:nvSpPr>
            <p:spPr>
              <a:xfrm>
                <a:off x="6918089" y="3027364"/>
                <a:ext cx="230921" cy="362723"/>
              </a:xfrm>
              <a:custGeom>
                <a:avLst/>
                <a:gdLst>
                  <a:gd name="connsiteX0" fmla="*/ 0 w 230921"/>
                  <a:gd name="connsiteY0" fmla="*/ 0 h 362723"/>
                  <a:gd name="connsiteX1" fmla="*/ 39380 w 230921"/>
                  <a:gd name="connsiteY1" fmla="*/ 0 h 362723"/>
                  <a:gd name="connsiteX2" fmla="*/ 39380 w 230921"/>
                  <a:gd name="connsiteY2" fmla="*/ 241637 h 362723"/>
                  <a:gd name="connsiteX3" fmla="*/ 115461 w 230921"/>
                  <a:gd name="connsiteY3" fmla="*/ 323880 h 362723"/>
                  <a:gd name="connsiteX4" fmla="*/ 191542 w 230921"/>
                  <a:gd name="connsiteY4" fmla="*/ 241637 h 362723"/>
                  <a:gd name="connsiteX5" fmla="*/ 191542 w 230921"/>
                  <a:gd name="connsiteY5" fmla="*/ 0 h 362723"/>
                  <a:gd name="connsiteX6" fmla="*/ 230922 w 230921"/>
                  <a:gd name="connsiteY6" fmla="*/ 0 h 362723"/>
                  <a:gd name="connsiteX7" fmla="*/ 230922 w 230921"/>
                  <a:gd name="connsiteY7" fmla="*/ 241637 h 362723"/>
                  <a:gd name="connsiteX8" fmla="*/ 115528 w 230921"/>
                  <a:gd name="connsiteY8" fmla="*/ 362724 h 362723"/>
                  <a:gd name="connsiteX9" fmla="*/ 134 w 230921"/>
                  <a:gd name="connsiteY9" fmla="*/ 241637 h 362723"/>
                  <a:gd name="connsiteX10" fmla="*/ 134 w 230921"/>
                  <a:gd name="connsiteY10" fmla="*/ 0 h 362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30921" h="362723">
                    <a:moveTo>
                      <a:pt x="0" y="0"/>
                    </a:moveTo>
                    <a:lnTo>
                      <a:pt x="39380" y="0"/>
                    </a:lnTo>
                    <a:lnTo>
                      <a:pt x="39380" y="241637"/>
                    </a:lnTo>
                    <a:cubicBezTo>
                      <a:pt x="39380" y="295684"/>
                      <a:pt x="73067" y="323880"/>
                      <a:pt x="115461" y="323880"/>
                    </a:cubicBezTo>
                    <a:cubicBezTo>
                      <a:pt x="157855" y="323880"/>
                      <a:pt x="191542" y="295885"/>
                      <a:pt x="191542" y="241637"/>
                    </a:cubicBezTo>
                    <a:lnTo>
                      <a:pt x="191542" y="0"/>
                    </a:lnTo>
                    <a:lnTo>
                      <a:pt x="230922" y="0"/>
                    </a:lnTo>
                    <a:lnTo>
                      <a:pt x="230922" y="241637"/>
                    </a:lnTo>
                    <a:cubicBezTo>
                      <a:pt x="230922" y="316781"/>
                      <a:pt x="183974" y="362724"/>
                      <a:pt x="115528" y="362724"/>
                    </a:cubicBezTo>
                    <a:cubicBezTo>
                      <a:pt x="47082" y="362724"/>
                      <a:pt x="134" y="316781"/>
                      <a:pt x="134" y="241637"/>
                    </a:cubicBezTo>
                    <a:lnTo>
                      <a:pt x="134" y="0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17" name="Forma Livre: Forma 16">
                <a:extLst>
                  <a:ext uri="{FF2B5EF4-FFF2-40B4-BE49-F238E27FC236}">
                    <a16:creationId xmlns:a16="http://schemas.microsoft.com/office/drawing/2014/main" id="{B453DCF6-1BD6-4E25-8416-743E9E3C0BFA}"/>
                  </a:ext>
                </a:extLst>
              </p:cNvPr>
              <p:cNvSpPr/>
              <p:nvPr/>
            </p:nvSpPr>
            <p:spPr>
              <a:xfrm>
                <a:off x="7230784" y="3027364"/>
                <a:ext cx="203395" cy="357633"/>
              </a:xfrm>
              <a:custGeom>
                <a:avLst/>
                <a:gdLst>
                  <a:gd name="connsiteX0" fmla="*/ 0 w 203395"/>
                  <a:gd name="connsiteY0" fmla="*/ 0 h 357633"/>
                  <a:gd name="connsiteX1" fmla="*/ 39380 w 203395"/>
                  <a:gd name="connsiteY1" fmla="*/ 0 h 357633"/>
                  <a:gd name="connsiteX2" fmla="*/ 39380 w 203395"/>
                  <a:gd name="connsiteY2" fmla="*/ 318790 h 357633"/>
                  <a:gd name="connsiteX3" fmla="*/ 203396 w 203395"/>
                  <a:gd name="connsiteY3" fmla="*/ 318790 h 357633"/>
                  <a:gd name="connsiteX4" fmla="*/ 203396 w 203395"/>
                  <a:gd name="connsiteY4" fmla="*/ 357634 h 357633"/>
                  <a:gd name="connsiteX5" fmla="*/ 67 w 203395"/>
                  <a:gd name="connsiteY5" fmla="*/ 357634 h 357633"/>
                  <a:gd name="connsiteX6" fmla="*/ 67 w 203395"/>
                  <a:gd name="connsiteY6" fmla="*/ 0 h 357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3395" h="357633">
                    <a:moveTo>
                      <a:pt x="0" y="0"/>
                    </a:moveTo>
                    <a:lnTo>
                      <a:pt x="39380" y="0"/>
                    </a:lnTo>
                    <a:lnTo>
                      <a:pt x="39380" y="318790"/>
                    </a:lnTo>
                    <a:lnTo>
                      <a:pt x="203396" y="318790"/>
                    </a:lnTo>
                    <a:lnTo>
                      <a:pt x="203396" y="357634"/>
                    </a:lnTo>
                    <a:lnTo>
                      <a:pt x="67" y="357634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18" name="Forma Livre: Forma 17">
                <a:extLst>
                  <a:ext uri="{FF2B5EF4-FFF2-40B4-BE49-F238E27FC236}">
                    <a16:creationId xmlns:a16="http://schemas.microsoft.com/office/drawing/2014/main" id="{EDC3E372-50C1-44E5-AC7E-34D05AA3F194}"/>
                  </a:ext>
                </a:extLst>
              </p:cNvPr>
              <p:cNvSpPr/>
              <p:nvPr/>
            </p:nvSpPr>
            <p:spPr>
              <a:xfrm>
                <a:off x="7477980" y="3023413"/>
                <a:ext cx="230787" cy="367880"/>
              </a:xfrm>
              <a:custGeom>
                <a:avLst/>
                <a:gdLst>
                  <a:gd name="connsiteX0" fmla="*/ 230788 w 230787"/>
                  <a:gd name="connsiteY0" fmla="*/ 246794 h 367880"/>
                  <a:gd name="connsiteX1" fmla="*/ 115394 w 230787"/>
                  <a:gd name="connsiteY1" fmla="*/ 367881 h 367880"/>
                  <a:gd name="connsiteX2" fmla="*/ 0 w 230787"/>
                  <a:gd name="connsiteY2" fmla="*/ 246794 h 367880"/>
                  <a:gd name="connsiteX3" fmla="*/ 0 w 230787"/>
                  <a:gd name="connsiteY3" fmla="*/ 121086 h 367880"/>
                  <a:gd name="connsiteX4" fmla="*/ 115394 w 230787"/>
                  <a:gd name="connsiteY4" fmla="*/ 0 h 367880"/>
                  <a:gd name="connsiteX5" fmla="*/ 230788 w 230787"/>
                  <a:gd name="connsiteY5" fmla="*/ 121086 h 367880"/>
                  <a:gd name="connsiteX6" fmla="*/ 230788 w 230787"/>
                  <a:gd name="connsiteY6" fmla="*/ 246794 h 367880"/>
                  <a:gd name="connsiteX7" fmla="*/ 191609 w 230787"/>
                  <a:gd name="connsiteY7" fmla="*/ 121287 h 367880"/>
                  <a:gd name="connsiteX8" fmla="*/ 115528 w 230787"/>
                  <a:gd name="connsiteY8" fmla="*/ 39045 h 367880"/>
                  <a:gd name="connsiteX9" fmla="*/ 39447 w 230787"/>
                  <a:gd name="connsiteY9" fmla="*/ 121287 h 367880"/>
                  <a:gd name="connsiteX10" fmla="*/ 39447 w 230787"/>
                  <a:gd name="connsiteY10" fmla="*/ 246995 h 367880"/>
                  <a:gd name="connsiteX11" fmla="*/ 115528 w 230787"/>
                  <a:gd name="connsiteY11" fmla="*/ 329238 h 367880"/>
                  <a:gd name="connsiteX12" fmla="*/ 191609 w 230787"/>
                  <a:gd name="connsiteY12" fmla="*/ 246995 h 367880"/>
                  <a:gd name="connsiteX13" fmla="*/ 191609 w 230787"/>
                  <a:gd name="connsiteY13" fmla="*/ 121287 h 36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30787" h="367880">
                    <a:moveTo>
                      <a:pt x="230788" y="246794"/>
                    </a:moveTo>
                    <a:cubicBezTo>
                      <a:pt x="230788" y="321938"/>
                      <a:pt x="183840" y="367881"/>
                      <a:pt x="115394" y="367881"/>
                    </a:cubicBezTo>
                    <a:cubicBezTo>
                      <a:pt x="46948" y="367881"/>
                      <a:pt x="0" y="321938"/>
                      <a:pt x="0" y="246794"/>
                    </a:cubicBezTo>
                    <a:lnTo>
                      <a:pt x="0" y="121086"/>
                    </a:lnTo>
                    <a:cubicBezTo>
                      <a:pt x="0" y="45943"/>
                      <a:pt x="46948" y="0"/>
                      <a:pt x="115394" y="0"/>
                    </a:cubicBezTo>
                    <a:cubicBezTo>
                      <a:pt x="183840" y="0"/>
                      <a:pt x="230788" y="45943"/>
                      <a:pt x="230788" y="121086"/>
                    </a:cubicBezTo>
                    <a:lnTo>
                      <a:pt x="230788" y="246794"/>
                    </a:lnTo>
                    <a:close/>
                    <a:moveTo>
                      <a:pt x="191609" y="121287"/>
                    </a:moveTo>
                    <a:cubicBezTo>
                      <a:pt x="191609" y="67241"/>
                      <a:pt x="157922" y="39045"/>
                      <a:pt x="115528" y="39045"/>
                    </a:cubicBezTo>
                    <a:cubicBezTo>
                      <a:pt x="73134" y="39045"/>
                      <a:pt x="39447" y="67040"/>
                      <a:pt x="39447" y="121287"/>
                    </a:cubicBezTo>
                    <a:lnTo>
                      <a:pt x="39447" y="246995"/>
                    </a:lnTo>
                    <a:cubicBezTo>
                      <a:pt x="39447" y="301042"/>
                      <a:pt x="73134" y="329238"/>
                      <a:pt x="115528" y="329238"/>
                    </a:cubicBezTo>
                    <a:cubicBezTo>
                      <a:pt x="157922" y="329238"/>
                      <a:pt x="191609" y="301243"/>
                      <a:pt x="191609" y="246995"/>
                    </a:cubicBezTo>
                    <a:lnTo>
                      <a:pt x="191609" y="121287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19" name="Forma Livre: Forma 18">
                <a:extLst>
                  <a:ext uri="{FF2B5EF4-FFF2-40B4-BE49-F238E27FC236}">
                    <a16:creationId xmlns:a16="http://schemas.microsoft.com/office/drawing/2014/main" id="{3F87B32E-C198-4E97-BB2D-BD88FEF171EF}"/>
                  </a:ext>
                </a:extLst>
              </p:cNvPr>
              <p:cNvSpPr/>
              <p:nvPr/>
            </p:nvSpPr>
            <p:spPr>
              <a:xfrm>
                <a:off x="6368511" y="3546805"/>
                <a:ext cx="230452" cy="357633"/>
              </a:xfrm>
              <a:custGeom>
                <a:avLst/>
                <a:gdLst>
                  <a:gd name="connsiteX0" fmla="*/ 0 w 230452"/>
                  <a:gd name="connsiteY0" fmla="*/ 38844 h 357633"/>
                  <a:gd name="connsiteX1" fmla="*/ 0 w 230452"/>
                  <a:gd name="connsiteY1" fmla="*/ 0 h 357633"/>
                  <a:gd name="connsiteX2" fmla="*/ 230453 w 230452"/>
                  <a:gd name="connsiteY2" fmla="*/ 0 h 357633"/>
                  <a:gd name="connsiteX3" fmla="*/ 230453 w 230452"/>
                  <a:gd name="connsiteY3" fmla="*/ 38844 h 357633"/>
                  <a:gd name="connsiteX4" fmla="*/ 134883 w 230452"/>
                  <a:gd name="connsiteY4" fmla="*/ 38844 h 357633"/>
                  <a:gd name="connsiteX5" fmla="*/ 134883 w 230452"/>
                  <a:gd name="connsiteY5" fmla="*/ 357634 h 357633"/>
                  <a:gd name="connsiteX6" fmla="*/ 95503 w 230452"/>
                  <a:gd name="connsiteY6" fmla="*/ 357634 h 357633"/>
                  <a:gd name="connsiteX7" fmla="*/ 95503 w 230452"/>
                  <a:gd name="connsiteY7" fmla="*/ 38844 h 357633"/>
                  <a:gd name="connsiteX8" fmla="*/ 0 w 230452"/>
                  <a:gd name="connsiteY8" fmla="*/ 38844 h 357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30452" h="357633">
                    <a:moveTo>
                      <a:pt x="0" y="38844"/>
                    </a:moveTo>
                    <a:lnTo>
                      <a:pt x="0" y="0"/>
                    </a:lnTo>
                    <a:lnTo>
                      <a:pt x="230453" y="0"/>
                    </a:lnTo>
                    <a:lnTo>
                      <a:pt x="230453" y="38844"/>
                    </a:lnTo>
                    <a:lnTo>
                      <a:pt x="134883" y="38844"/>
                    </a:lnTo>
                    <a:lnTo>
                      <a:pt x="134883" y="357634"/>
                    </a:lnTo>
                    <a:lnTo>
                      <a:pt x="95503" y="357634"/>
                    </a:lnTo>
                    <a:lnTo>
                      <a:pt x="95503" y="38844"/>
                    </a:lnTo>
                    <a:cubicBezTo>
                      <a:pt x="95503" y="38844"/>
                      <a:pt x="0" y="38844"/>
                      <a:pt x="0" y="38844"/>
                    </a:cubicBez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20" name="Forma Livre: Forma 19">
                <a:extLst>
                  <a:ext uri="{FF2B5EF4-FFF2-40B4-BE49-F238E27FC236}">
                    <a16:creationId xmlns:a16="http://schemas.microsoft.com/office/drawing/2014/main" id="{431896E9-6ADE-48F3-AE93-572CC6320180}"/>
                  </a:ext>
                </a:extLst>
              </p:cNvPr>
              <p:cNvSpPr/>
              <p:nvPr/>
            </p:nvSpPr>
            <p:spPr>
              <a:xfrm>
                <a:off x="6657163" y="3546871"/>
                <a:ext cx="203329" cy="357567"/>
              </a:xfrm>
              <a:custGeom>
                <a:avLst/>
                <a:gdLst>
                  <a:gd name="connsiteX0" fmla="*/ 39313 w 203329"/>
                  <a:gd name="connsiteY0" fmla="*/ 318723 h 357567"/>
                  <a:gd name="connsiteX1" fmla="*/ 203329 w 203329"/>
                  <a:gd name="connsiteY1" fmla="*/ 318723 h 357567"/>
                  <a:gd name="connsiteX2" fmla="*/ 203329 w 203329"/>
                  <a:gd name="connsiteY2" fmla="*/ 357567 h 357567"/>
                  <a:gd name="connsiteX3" fmla="*/ 0 w 203329"/>
                  <a:gd name="connsiteY3" fmla="*/ 357567 h 357567"/>
                  <a:gd name="connsiteX4" fmla="*/ 0 w 203329"/>
                  <a:gd name="connsiteY4" fmla="*/ 0 h 357567"/>
                  <a:gd name="connsiteX5" fmla="*/ 203329 w 203329"/>
                  <a:gd name="connsiteY5" fmla="*/ 0 h 357567"/>
                  <a:gd name="connsiteX6" fmla="*/ 203329 w 203329"/>
                  <a:gd name="connsiteY6" fmla="*/ 38844 h 357567"/>
                  <a:gd name="connsiteX7" fmla="*/ 39313 w 203329"/>
                  <a:gd name="connsiteY7" fmla="*/ 38844 h 357567"/>
                  <a:gd name="connsiteX8" fmla="*/ 39313 w 203329"/>
                  <a:gd name="connsiteY8" fmla="*/ 157252 h 357567"/>
                  <a:gd name="connsiteX9" fmla="*/ 167499 w 203329"/>
                  <a:gd name="connsiteY9" fmla="*/ 157252 h 357567"/>
                  <a:gd name="connsiteX10" fmla="*/ 167499 w 203329"/>
                  <a:gd name="connsiteY10" fmla="*/ 196096 h 357567"/>
                  <a:gd name="connsiteX11" fmla="*/ 39313 w 203329"/>
                  <a:gd name="connsiteY11" fmla="*/ 196096 h 357567"/>
                  <a:gd name="connsiteX12" fmla="*/ 39313 w 203329"/>
                  <a:gd name="connsiteY12" fmla="*/ 318723 h 357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3329" h="357567">
                    <a:moveTo>
                      <a:pt x="39313" y="318723"/>
                    </a:moveTo>
                    <a:lnTo>
                      <a:pt x="203329" y="318723"/>
                    </a:lnTo>
                    <a:lnTo>
                      <a:pt x="203329" y="357567"/>
                    </a:lnTo>
                    <a:lnTo>
                      <a:pt x="0" y="357567"/>
                    </a:lnTo>
                    <a:lnTo>
                      <a:pt x="0" y="0"/>
                    </a:lnTo>
                    <a:lnTo>
                      <a:pt x="203329" y="0"/>
                    </a:lnTo>
                    <a:lnTo>
                      <a:pt x="203329" y="38844"/>
                    </a:lnTo>
                    <a:lnTo>
                      <a:pt x="39313" y="38844"/>
                    </a:lnTo>
                    <a:lnTo>
                      <a:pt x="39313" y="157252"/>
                    </a:lnTo>
                    <a:lnTo>
                      <a:pt x="167499" y="157252"/>
                    </a:lnTo>
                    <a:lnTo>
                      <a:pt x="167499" y="196096"/>
                    </a:lnTo>
                    <a:lnTo>
                      <a:pt x="39313" y="196096"/>
                    </a:lnTo>
                    <a:lnTo>
                      <a:pt x="39313" y="318723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21" name="Forma Livre: Forma 20">
                <a:extLst>
                  <a:ext uri="{FF2B5EF4-FFF2-40B4-BE49-F238E27FC236}">
                    <a16:creationId xmlns:a16="http://schemas.microsoft.com/office/drawing/2014/main" id="{A2153AD7-F63C-494C-8969-7B80D263D739}"/>
                  </a:ext>
                </a:extLst>
              </p:cNvPr>
              <p:cNvSpPr/>
              <p:nvPr/>
            </p:nvSpPr>
            <p:spPr>
              <a:xfrm>
                <a:off x="6920232" y="3541715"/>
                <a:ext cx="230252" cy="367880"/>
              </a:xfrm>
              <a:custGeom>
                <a:avLst/>
                <a:gdLst>
                  <a:gd name="connsiteX0" fmla="*/ 230252 w 230252"/>
                  <a:gd name="connsiteY0" fmla="*/ 110907 h 367880"/>
                  <a:gd name="connsiteX1" fmla="*/ 190872 w 230252"/>
                  <a:gd name="connsiteY1" fmla="*/ 110907 h 367880"/>
                  <a:gd name="connsiteX2" fmla="*/ 115327 w 230252"/>
                  <a:gd name="connsiteY2" fmla="*/ 38911 h 367880"/>
                  <a:gd name="connsiteX3" fmla="*/ 39246 w 230252"/>
                  <a:gd name="connsiteY3" fmla="*/ 121153 h 367880"/>
                  <a:gd name="connsiteX4" fmla="*/ 39246 w 230252"/>
                  <a:gd name="connsiteY4" fmla="*/ 246861 h 367880"/>
                  <a:gd name="connsiteX5" fmla="*/ 115327 w 230252"/>
                  <a:gd name="connsiteY5" fmla="*/ 329103 h 367880"/>
                  <a:gd name="connsiteX6" fmla="*/ 190872 w 230252"/>
                  <a:gd name="connsiteY6" fmla="*/ 257108 h 367880"/>
                  <a:gd name="connsiteX7" fmla="*/ 230252 w 230252"/>
                  <a:gd name="connsiteY7" fmla="*/ 257108 h 367880"/>
                  <a:gd name="connsiteX8" fmla="*/ 115394 w 230252"/>
                  <a:gd name="connsiteY8" fmla="*/ 367881 h 367880"/>
                  <a:gd name="connsiteX9" fmla="*/ 0 w 230252"/>
                  <a:gd name="connsiteY9" fmla="*/ 246794 h 367880"/>
                  <a:gd name="connsiteX10" fmla="*/ 0 w 230252"/>
                  <a:gd name="connsiteY10" fmla="*/ 121086 h 367880"/>
                  <a:gd name="connsiteX11" fmla="*/ 115394 w 230252"/>
                  <a:gd name="connsiteY11" fmla="*/ 0 h 367880"/>
                  <a:gd name="connsiteX12" fmla="*/ 230252 w 230252"/>
                  <a:gd name="connsiteY12" fmla="*/ 110907 h 36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0252" h="367880">
                    <a:moveTo>
                      <a:pt x="230252" y="110907"/>
                    </a:moveTo>
                    <a:lnTo>
                      <a:pt x="190872" y="110907"/>
                    </a:lnTo>
                    <a:cubicBezTo>
                      <a:pt x="186787" y="63423"/>
                      <a:pt x="155041" y="38911"/>
                      <a:pt x="115327" y="38911"/>
                    </a:cubicBezTo>
                    <a:cubicBezTo>
                      <a:pt x="72933" y="38911"/>
                      <a:pt x="39246" y="66906"/>
                      <a:pt x="39246" y="121153"/>
                    </a:cubicBezTo>
                    <a:lnTo>
                      <a:pt x="39246" y="246861"/>
                    </a:lnTo>
                    <a:cubicBezTo>
                      <a:pt x="39246" y="300908"/>
                      <a:pt x="72933" y="329103"/>
                      <a:pt x="115327" y="329103"/>
                    </a:cubicBezTo>
                    <a:cubicBezTo>
                      <a:pt x="155243" y="329103"/>
                      <a:pt x="186787" y="304659"/>
                      <a:pt x="190872" y="257108"/>
                    </a:cubicBezTo>
                    <a:lnTo>
                      <a:pt x="230252" y="257108"/>
                    </a:lnTo>
                    <a:cubicBezTo>
                      <a:pt x="226167" y="326090"/>
                      <a:pt x="180759" y="367881"/>
                      <a:pt x="115394" y="367881"/>
                    </a:cubicBezTo>
                    <a:cubicBezTo>
                      <a:pt x="46948" y="367881"/>
                      <a:pt x="0" y="321938"/>
                      <a:pt x="0" y="246794"/>
                    </a:cubicBezTo>
                    <a:lnTo>
                      <a:pt x="0" y="121086"/>
                    </a:lnTo>
                    <a:cubicBezTo>
                      <a:pt x="0" y="45943"/>
                      <a:pt x="46948" y="0"/>
                      <a:pt x="115394" y="0"/>
                    </a:cubicBezTo>
                    <a:cubicBezTo>
                      <a:pt x="180826" y="-67"/>
                      <a:pt x="226167" y="41992"/>
                      <a:pt x="230252" y="110907"/>
                    </a:cubicBez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22" name="Forma Livre: Forma 21">
                <a:extLst>
                  <a:ext uri="{FF2B5EF4-FFF2-40B4-BE49-F238E27FC236}">
                    <a16:creationId xmlns:a16="http://schemas.microsoft.com/office/drawing/2014/main" id="{F6166786-54EA-4236-B44B-3F7E48FF0B73}"/>
                  </a:ext>
                </a:extLst>
              </p:cNvPr>
              <p:cNvSpPr/>
              <p:nvPr/>
            </p:nvSpPr>
            <p:spPr>
              <a:xfrm>
                <a:off x="7218394" y="3546805"/>
                <a:ext cx="231055" cy="357566"/>
              </a:xfrm>
              <a:custGeom>
                <a:avLst/>
                <a:gdLst>
                  <a:gd name="connsiteX0" fmla="*/ 191676 w 231055"/>
                  <a:gd name="connsiteY0" fmla="*/ 0 h 357566"/>
                  <a:gd name="connsiteX1" fmla="*/ 231056 w 231055"/>
                  <a:gd name="connsiteY1" fmla="*/ 0 h 357566"/>
                  <a:gd name="connsiteX2" fmla="*/ 231056 w 231055"/>
                  <a:gd name="connsiteY2" fmla="*/ 357567 h 357566"/>
                  <a:gd name="connsiteX3" fmla="*/ 191676 w 231055"/>
                  <a:gd name="connsiteY3" fmla="*/ 357567 h 357566"/>
                  <a:gd name="connsiteX4" fmla="*/ 191676 w 231055"/>
                  <a:gd name="connsiteY4" fmla="*/ 196230 h 357566"/>
                  <a:gd name="connsiteX5" fmla="*/ 39380 w 231055"/>
                  <a:gd name="connsiteY5" fmla="*/ 196230 h 357566"/>
                  <a:gd name="connsiteX6" fmla="*/ 39380 w 231055"/>
                  <a:gd name="connsiteY6" fmla="*/ 357567 h 357566"/>
                  <a:gd name="connsiteX7" fmla="*/ 0 w 231055"/>
                  <a:gd name="connsiteY7" fmla="*/ 357567 h 357566"/>
                  <a:gd name="connsiteX8" fmla="*/ 0 w 231055"/>
                  <a:gd name="connsiteY8" fmla="*/ 0 h 357566"/>
                  <a:gd name="connsiteX9" fmla="*/ 39380 w 231055"/>
                  <a:gd name="connsiteY9" fmla="*/ 0 h 357566"/>
                  <a:gd name="connsiteX10" fmla="*/ 39380 w 231055"/>
                  <a:gd name="connsiteY10" fmla="*/ 157252 h 357566"/>
                  <a:gd name="connsiteX11" fmla="*/ 191676 w 231055"/>
                  <a:gd name="connsiteY11" fmla="*/ 157252 h 357566"/>
                  <a:gd name="connsiteX12" fmla="*/ 191676 w 231055"/>
                  <a:gd name="connsiteY12" fmla="*/ 0 h 357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1055" h="357566">
                    <a:moveTo>
                      <a:pt x="191676" y="0"/>
                    </a:moveTo>
                    <a:lnTo>
                      <a:pt x="231056" y="0"/>
                    </a:lnTo>
                    <a:lnTo>
                      <a:pt x="231056" y="357567"/>
                    </a:lnTo>
                    <a:lnTo>
                      <a:pt x="191676" y="357567"/>
                    </a:lnTo>
                    <a:lnTo>
                      <a:pt x="191676" y="196230"/>
                    </a:lnTo>
                    <a:lnTo>
                      <a:pt x="39380" y="196230"/>
                    </a:lnTo>
                    <a:lnTo>
                      <a:pt x="39380" y="357567"/>
                    </a:lnTo>
                    <a:lnTo>
                      <a:pt x="0" y="357567"/>
                    </a:lnTo>
                    <a:lnTo>
                      <a:pt x="0" y="0"/>
                    </a:lnTo>
                    <a:lnTo>
                      <a:pt x="39380" y="0"/>
                    </a:lnTo>
                    <a:lnTo>
                      <a:pt x="39380" y="157252"/>
                    </a:lnTo>
                    <a:lnTo>
                      <a:pt x="191676" y="157252"/>
                    </a:lnTo>
                    <a:lnTo>
                      <a:pt x="191676" y="0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23" name="Forma Livre: Forma 22">
                <a:extLst>
                  <a:ext uri="{FF2B5EF4-FFF2-40B4-BE49-F238E27FC236}">
                    <a16:creationId xmlns:a16="http://schemas.microsoft.com/office/drawing/2014/main" id="{4941C01C-42F1-4C42-B201-1CE6E9224951}"/>
                  </a:ext>
                </a:extLst>
              </p:cNvPr>
              <p:cNvSpPr/>
              <p:nvPr/>
            </p:nvSpPr>
            <p:spPr>
              <a:xfrm>
                <a:off x="6368511" y="4061288"/>
                <a:ext cx="224090" cy="367747"/>
              </a:xfrm>
              <a:custGeom>
                <a:avLst/>
                <a:gdLst>
                  <a:gd name="connsiteX0" fmla="*/ 0 w 224090"/>
                  <a:gd name="connsiteY0" fmla="*/ 256907 h 367747"/>
                  <a:gd name="connsiteX1" fmla="*/ 40451 w 224090"/>
                  <a:gd name="connsiteY1" fmla="*/ 256907 h 367747"/>
                  <a:gd name="connsiteX2" fmla="*/ 115997 w 224090"/>
                  <a:gd name="connsiteY2" fmla="*/ 328903 h 367747"/>
                  <a:gd name="connsiteX3" fmla="*/ 184443 w 224090"/>
                  <a:gd name="connsiteY3" fmla="*/ 272177 h 367747"/>
                  <a:gd name="connsiteX4" fmla="*/ 126645 w 224090"/>
                  <a:gd name="connsiteY4" fmla="*/ 209424 h 367747"/>
                  <a:gd name="connsiteX5" fmla="*/ 81238 w 224090"/>
                  <a:gd name="connsiteY5" fmla="*/ 196632 h 367747"/>
                  <a:gd name="connsiteX6" fmla="*/ 6094 w 224090"/>
                  <a:gd name="connsiteY6" fmla="*/ 95034 h 367747"/>
                  <a:gd name="connsiteX7" fmla="*/ 111777 w 224090"/>
                  <a:gd name="connsiteY7" fmla="*/ 0 h 367747"/>
                  <a:gd name="connsiteX8" fmla="*/ 219536 w 224090"/>
                  <a:gd name="connsiteY8" fmla="*/ 95570 h 367747"/>
                  <a:gd name="connsiteX9" fmla="*/ 179085 w 224090"/>
                  <a:gd name="connsiteY9" fmla="*/ 95570 h 367747"/>
                  <a:gd name="connsiteX10" fmla="*/ 111710 w 224090"/>
                  <a:gd name="connsiteY10" fmla="*/ 38844 h 367747"/>
                  <a:gd name="connsiteX11" fmla="*/ 45742 w 224090"/>
                  <a:gd name="connsiteY11" fmla="*/ 95034 h 367747"/>
                  <a:gd name="connsiteX12" fmla="*/ 98919 w 224090"/>
                  <a:gd name="connsiteY12" fmla="*/ 158323 h 367747"/>
                  <a:gd name="connsiteX13" fmla="*/ 140777 w 224090"/>
                  <a:gd name="connsiteY13" fmla="*/ 170044 h 367747"/>
                  <a:gd name="connsiteX14" fmla="*/ 224091 w 224090"/>
                  <a:gd name="connsiteY14" fmla="*/ 272177 h 367747"/>
                  <a:gd name="connsiteX15" fmla="*/ 115796 w 224090"/>
                  <a:gd name="connsiteY15" fmla="*/ 367747 h 367747"/>
                  <a:gd name="connsiteX16" fmla="*/ 0 w 224090"/>
                  <a:gd name="connsiteY16" fmla="*/ 256907 h 3677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24090" h="367747">
                    <a:moveTo>
                      <a:pt x="0" y="256907"/>
                    </a:moveTo>
                    <a:lnTo>
                      <a:pt x="40451" y="256907"/>
                    </a:lnTo>
                    <a:cubicBezTo>
                      <a:pt x="46680" y="302851"/>
                      <a:pt x="77688" y="328903"/>
                      <a:pt x="115997" y="328903"/>
                    </a:cubicBezTo>
                    <a:cubicBezTo>
                      <a:pt x="156448" y="328903"/>
                      <a:pt x="184443" y="309950"/>
                      <a:pt x="184443" y="272177"/>
                    </a:cubicBezTo>
                    <a:cubicBezTo>
                      <a:pt x="184443" y="239896"/>
                      <a:pt x="167097" y="220608"/>
                      <a:pt x="126645" y="209424"/>
                    </a:cubicBezTo>
                    <a:lnTo>
                      <a:pt x="81238" y="196632"/>
                    </a:lnTo>
                    <a:cubicBezTo>
                      <a:pt x="28062" y="181764"/>
                      <a:pt x="6094" y="138500"/>
                      <a:pt x="6094" y="95034"/>
                    </a:cubicBezTo>
                    <a:cubicBezTo>
                      <a:pt x="6094" y="33687"/>
                      <a:pt x="54650" y="0"/>
                      <a:pt x="111777" y="0"/>
                    </a:cubicBezTo>
                    <a:cubicBezTo>
                      <a:pt x="173660" y="0"/>
                      <a:pt x="211969" y="34759"/>
                      <a:pt x="219536" y="95570"/>
                    </a:cubicBezTo>
                    <a:lnTo>
                      <a:pt x="179085" y="95570"/>
                    </a:lnTo>
                    <a:cubicBezTo>
                      <a:pt x="171450" y="61347"/>
                      <a:pt x="150019" y="38844"/>
                      <a:pt x="111710" y="38844"/>
                    </a:cubicBezTo>
                    <a:cubicBezTo>
                      <a:pt x="68781" y="38844"/>
                      <a:pt x="45742" y="63825"/>
                      <a:pt x="45742" y="95034"/>
                    </a:cubicBezTo>
                    <a:cubicBezTo>
                      <a:pt x="45742" y="127650"/>
                      <a:pt x="62084" y="148211"/>
                      <a:pt x="98919" y="158323"/>
                    </a:cubicBezTo>
                    <a:lnTo>
                      <a:pt x="140777" y="170044"/>
                    </a:lnTo>
                    <a:cubicBezTo>
                      <a:pt x="191274" y="184376"/>
                      <a:pt x="224091" y="215451"/>
                      <a:pt x="224091" y="272177"/>
                    </a:cubicBezTo>
                    <a:cubicBezTo>
                      <a:pt x="224091" y="329439"/>
                      <a:pt x="187389" y="367747"/>
                      <a:pt x="115796" y="367747"/>
                    </a:cubicBezTo>
                    <a:cubicBezTo>
                      <a:pt x="51234" y="367680"/>
                      <a:pt x="5090" y="325353"/>
                      <a:pt x="0" y="256907"/>
                    </a:cubicBez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24" name="Forma Livre: Forma 23">
                <a:extLst>
                  <a:ext uri="{FF2B5EF4-FFF2-40B4-BE49-F238E27FC236}">
                    <a16:creationId xmlns:a16="http://schemas.microsoft.com/office/drawing/2014/main" id="{A6D52FB7-D2B6-4BCB-A95F-D9D0CE9C588A}"/>
                  </a:ext>
                </a:extLst>
              </p:cNvPr>
              <p:cNvSpPr/>
              <p:nvPr/>
            </p:nvSpPr>
            <p:spPr>
              <a:xfrm>
                <a:off x="6650600" y="4061154"/>
                <a:ext cx="230252" cy="367880"/>
              </a:xfrm>
              <a:custGeom>
                <a:avLst/>
                <a:gdLst>
                  <a:gd name="connsiteX0" fmla="*/ 230252 w 230252"/>
                  <a:gd name="connsiteY0" fmla="*/ 110907 h 367880"/>
                  <a:gd name="connsiteX1" fmla="*/ 190872 w 230252"/>
                  <a:gd name="connsiteY1" fmla="*/ 110907 h 367880"/>
                  <a:gd name="connsiteX2" fmla="*/ 115327 w 230252"/>
                  <a:gd name="connsiteY2" fmla="*/ 38911 h 367880"/>
                  <a:gd name="connsiteX3" fmla="*/ 39246 w 230252"/>
                  <a:gd name="connsiteY3" fmla="*/ 121153 h 367880"/>
                  <a:gd name="connsiteX4" fmla="*/ 39246 w 230252"/>
                  <a:gd name="connsiteY4" fmla="*/ 246861 h 367880"/>
                  <a:gd name="connsiteX5" fmla="*/ 115327 w 230252"/>
                  <a:gd name="connsiteY5" fmla="*/ 329104 h 367880"/>
                  <a:gd name="connsiteX6" fmla="*/ 190872 w 230252"/>
                  <a:gd name="connsiteY6" fmla="*/ 257108 h 367880"/>
                  <a:gd name="connsiteX7" fmla="*/ 230252 w 230252"/>
                  <a:gd name="connsiteY7" fmla="*/ 257108 h 367880"/>
                  <a:gd name="connsiteX8" fmla="*/ 115394 w 230252"/>
                  <a:gd name="connsiteY8" fmla="*/ 367881 h 367880"/>
                  <a:gd name="connsiteX9" fmla="*/ 0 w 230252"/>
                  <a:gd name="connsiteY9" fmla="*/ 246794 h 367880"/>
                  <a:gd name="connsiteX10" fmla="*/ 0 w 230252"/>
                  <a:gd name="connsiteY10" fmla="*/ 121086 h 367880"/>
                  <a:gd name="connsiteX11" fmla="*/ 115394 w 230252"/>
                  <a:gd name="connsiteY11" fmla="*/ 0 h 367880"/>
                  <a:gd name="connsiteX12" fmla="*/ 230252 w 230252"/>
                  <a:gd name="connsiteY12" fmla="*/ 110907 h 36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0252" h="367880">
                    <a:moveTo>
                      <a:pt x="230252" y="110907"/>
                    </a:moveTo>
                    <a:lnTo>
                      <a:pt x="190872" y="110907"/>
                    </a:lnTo>
                    <a:cubicBezTo>
                      <a:pt x="186787" y="63423"/>
                      <a:pt x="155042" y="38911"/>
                      <a:pt x="115327" y="38911"/>
                    </a:cubicBezTo>
                    <a:cubicBezTo>
                      <a:pt x="72933" y="38911"/>
                      <a:pt x="39246" y="66906"/>
                      <a:pt x="39246" y="121153"/>
                    </a:cubicBezTo>
                    <a:lnTo>
                      <a:pt x="39246" y="246861"/>
                    </a:lnTo>
                    <a:cubicBezTo>
                      <a:pt x="39246" y="300908"/>
                      <a:pt x="72933" y="329104"/>
                      <a:pt x="115327" y="329104"/>
                    </a:cubicBezTo>
                    <a:cubicBezTo>
                      <a:pt x="155243" y="329104"/>
                      <a:pt x="186787" y="304659"/>
                      <a:pt x="190872" y="257108"/>
                    </a:cubicBezTo>
                    <a:lnTo>
                      <a:pt x="230252" y="257108"/>
                    </a:lnTo>
                    <a:cubicBezTo>
                      <a:pt x="226167" y="326090"/>
                      <a:pt x="180759" y="367881"/>
                      <a:pt x="115394" y="367881"/>
                    </a:cubicBezTo>
                    <a:cubicBezTo>
                      <a:pt x="46948" y="367881"/>
                      <a:pt x="0" y="321938"/>
                      <a:pt x="0" y="246794"/>
                    </a:cubicBezTo>
                    <a:lnTo>
                      <a:pt x="0" y="121086"/>
                    </a:lnTo>
                    <a:cubicBezTo>
                      <a:pt x="0" y="45943"/>
                      <a:pt x="46948" y="0"/>
                      <a:pt x="115394" y="0"/>
                    </a:cubicBezTo>
                    <a:cubicBezTo>
                      <a:pt x="180759" y="-67"/>
                      <a:pt x="226167" y="41992"/>
                      <a:pt x="230252" y="110907"/>
                    </a:cubicBez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25" name="Forma Livre: Forma 24">
                <a:extLst>
                  <a:ext uri="{FF2B5EF4-FFF2-40B4-BE49-F238E27FC236}">
                    <a16:creationId xmlns:a16="http://schemas.microsoft.com/office/drawing/2014/main" id="{2B4E3ADF-CD1E-4452-9142-16A60FEA96CD}"/>
                  </a:ext>
                </a:extLst>
              </p:cNvPr>
              <p:cNvSpPr/>
              <p:nvPr/>
            </p:nvSpPr>
            <p:spPr>
              <a:xfrm>
                <a:off x="6948695" y="4066244"/>
                <a:ext cx="231055" cy="357566"/>
              </a:xfrm>
              <a:custGeom>
                <a:avLst/>
                <a:gdLst>
                  <a:gd name="connsiteX0" fmla="*/ 191676 w 231055"/>
                  <a:gd name="connsiteY0" fmla="*/ 0 h 357566"/>
                  <a:gd name="connsiteX1" fmla="*/ 231056 w 231055"/>
                  <a:gd name="connsiteY1" fmla="*/ 0 h 357566"/>
                  <a:gd name="connsiteX2" fmla="*/ 231056 w 231055"/>
                  <a:gd name="connsiteY2" fmla="*/ 357567 h 357566"/>
                  <a:gd name="connsiteX3" fmla="*/ 191676 w 231055"/>
                  <a:gd name="connsiteY3" fmla="*/ 357567 h 357566"/>
                  <a:gd name="connsiteX4" fmla="*/ 191676 w 231055"/>
                  <a:gd name="connsiteY4" fmla="*/ 196230 h 357566"/>
                  <a:gd name="connsiteX5" fmla="*/ 39380 w 231055"/>
                  <a:gd name="connsiteY5" fmla="*/ 196230 h 357566"/>
                  <a:gd name="connsiteX6" fmla="*/ 39380 w 231055"/>
                  <a:gd name="connsiteY6" fmla="*/ 357567 h 357566"/>
                  <a:gd name="connsiteX7" fmla="*/ 0 w 231055"/>
                  <a:gd name="connsiteY7" fmla="*/ 357567 h 357566"/>
                  <a:gd name="connsiteX8" fmla="*/ 0 w 231055"/>
                  <a:gd name="connsiteY8" fmla="*/ 0 h 357566"/>
                  <a:gd name="connsiteX9" fmla="*/ 39380 w 231055"/>
                  <a:gd name="connsiteY9" fmla="*/ 0 h 357566"/>
                  <a:gd name="connsiteX10" fmla="*/ 39380 w 231055"/>
                  <a:gd name="connsiteY10" fmla="*/ 157252 h 357566"/>
                  <a:gd name="connsiteX11" fmla="*/ 191676 w 231055"/>
                  <a:gd name="connsiteY11" fmla="*/ 157252 h 357566"/>
                  <a:gd name="connsiteX12" fmla="*/ 191676 w 231055"/>
                  <a:gd name="connsiteY12" fmla="*/ 0 h 357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1055" h="357566">
                    <a:moveTo>
                      <a:pt x="191676" y="0"/>
                    </a:moveTo>
                    <a:lnTo>
                      <a:pt x="231056" y="0"/>
                    </a:lnTo>
                    <a:lnTo>
                      <a:pt x="231056" y="357567"/>
                    </a:lnTo>
                    <a:lnTo>
                      <a:pt x="191676" y="357567"/>
                    </a:lnTo>
                    <a:lnTo>
                      <a:pt x="191676" y="196230"/>
                    </a:lnTo>
                    <a:lnTo>
                      <a:pt x="39380" y="196230"/>
                    </a:lnTo>
                    <a:lnTo>
                      <a:pt x="39380" y="357567"/>
                    </a:lnTo>
                    <a:lnTo>
                      <a:pt x="0" y="357567"/>
                    </a:lnTo>
                    <a:lnTo>
                      <a:pt x="0" y="0"/>
                    </a:lnTo>
                    <a:lnTo>
                      <a:pt x="39380" y="0"/>
                    </a:lnTo>
                    <a:lnTo>
                      <a:pt x="39380" y="157252"/>
                    </a:lnTo>
                    <a:lnTo>
                      <a:pt x="191676" y="157252"/>
                    </a:lnTo>
                    <a:lnTo>
                      <a:pt x="191676" y="0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26" name="Forma Livre: Forma 25">
                <a:extLst>
                  <a:ext uri="{FF2B5EF4-FFF2-40B4-BE49-F238E27FC236}">
                    <a16:creationId xmlns:a16="http://schemas.microsoft.com/office/drawing/2014/main" id="{A1D49BCE-2437-44C3-94A7-F456BE53765D}"/>
                  </a:ext>
                </a:extLst>
              </p:cNvPr>
              <p:cNvSpPr/>
              <p:nvPr/>
            </p:nvSpPr>
            <p:spPr>
              <a:xfrm>
                <a:off x="7249269" y="4061087"/>
                <a:ext cx="230787" cy="367880"/>
              </a:xfrm>
              <a:custGeom>
                <a:avLst/>
                <a:gdLst>
                  <a:gd name="connsiteX0" fmla="*/ 230788 w 230787"/>
                  <a:gd name="connsiteY0" fmla="*/ 246794 h 367880"/>
                  <a:gd name="connsiteX1" fmla="*/ 115394 w 230787"/>
                  <a:gd name="connsiteY1" fmla="*/ 367881 h 367880"/>
                  <a:gd name="connsiteX2" fmla="*/ 0 w 230787"/>
                  <a:gd name="connsiteY2" fmla="*/ 246794 h 367880"/>
                  <a:gd name="connsiteX3" fmla="*/ 0 w 230787"/>
                  <a:gd name="connsiteY3" fmla="*/ 121087 h 367880"/>
                  <a:gd name="connsiteX4" fmla="*/ 115394 w 230787"/>
                  <a:gd name="connsiteY4" fmla="*/ 0 h 367880"/>
                  <a:gd name="connsiteX5" fmla="*/ 230788 w 230787"/>
                  <a:gd name="connsiteY5" fmla="*/ 121087 h 367880"/>
                  <a:gd name="connsiteX6" fmla="*/ 230788 w 230787"/>
                  <a:gd name="connsiteY6" fmla="*/ 246794 h 367880"/>
                  <a:gd name="connsiteX7" fmla="*/ 191475 w 230787"/>
                  <a:gd name="connsiteY7" fmla="*/ 121087 h 367880"/>
                  <a:gd name="connsiteX8" fmla="*/ 115394 w 230787"/>
                  <a:gd name="connsiteY8" fmla="*/ 38844 h 367880"/>
                  <a:gd name="connsiteX9" fmla="*/ 39313 w 230787"/>
                  <a:gd name="connsiteY9" fmla="*/ 121087 h 367880"/>
                  <a:gd name="connsiteX10" fmla="*/ 39313 w 230787"/>
                  <a:gd name="connsiteY10" fmla="*/ 246794 h 367880"/>
                  <a:gd name="connsiteX11" fmla="*/ 115394 w 230787"/>
                  <a:gd name="connsiteY11" fmla="*/ 329037 h 367880"/>
                  <a:gd name="connsiteX12" fmla="*/ 191475 w 230787"/>
                  <a:gd name="connsiteY12" fmla="*/ 246794 h 367880"/>
                  <a:gd name="connsiteX13" fmla="*/ 191475 w 230787"/>
                  <a:gd name="connsiteY13" fmla="*/ 121087 h 36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30787" h="367880">
                    <a:moveTo>
                      <a:pt x="230788" y="246794"/>
                    </a:moveTo>
                    <a:cubicBezTo>
                      <a:pt x="230788" y="321938"/>
                      <a:pt x="183840" y="367881"/>
                      <a:pt x="115394" y="367881"/>
                    </a:cubicBezTo>
                    <a:cubicBezTo>
                      <a:pt x="46948" y="367881"/>
                      <a:pt x="0" y="321938"/>
                      <a:pt x="0" y="246794"/>
                    </a:cubicBezTo>
                    <a:lnTo>
                      <a:pt x="0" y="121087"/>
                    </a:lnTo>
                    <a:cubicBezTo>
                      <a:pt x="0" y="45943"/>
                      <a:pt x="46948" y="0"/>
                      <a:pt x="115394" y="0"/>
                    </a:cubicBezTo>
                    <a:cubicBezTo>
                      <a:pt x="183840" y="0"/>
                      <a:pt x="230788" y="45943"/>
                      <a:pt x="230788" y="121087"/>
                    </a:cubicBezTo>
                    <a:lnTo>
                      <a:pt x="230788" y="246794"/>
                    </a:lnTo>
                    <a:close/>
                    <a:moveTo>
                      <a:pt x="191475" y="121087"/>
                    </a:moveTo>
                    <a:cubicBezTo>
                      <a:pt x="191475" y="67040"/>
                      <a:pt x="157788" y="38844"/>
                      <a:pt x="115394" y="38844"/>
                    </a:cubicBezTo>
                    <a:cubicBezTo>
                      <a:pt x="73000" y="38844"/>
                      <a:pt x="39313" y="66839"/>
                      <a:pt x="39313" y="121087"/>
                    </a:cubicBezTo>
                    <a:lnTo>
                      <a:pt x="39313" y="246794"/>
                    </a:lnTo>
                    <a:cubicBezTo>
                      <a:pt x="39313" y="300841"/>
                      <a:pt x="73000" y="329037"/>
                      <a:pt x="115394" y="329037"/>
                    </a:cubicBezTo>
                    <a:cubicBezTo>
                      <a:pt x="157788" y="329037"/>
                      <a:pt x="191475" y="301042"/>
                      <a:pt x="191475" y="246794"/>
                    </a:cubicBezTo>
                    <a:lnTo>
                      <a:pt x="191475" y="121087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27" name="Forma Livre: Forma 26">
                <a:extLst>
                  <a:ext uri="{FF2B5EF4-FFF2-40B4-BE49-F238E27FC236}">
                    <a16:creationId xmlns:a16="http://schemas.microsoft.com/office/drawing/2014/main" id="{9A90F684-525C-41B8-BDF9-A9716BE2D37A}"/>
                  </a:ext>
                </a:extLst>
              </p:cNvPr>
              <p:cNvSpPr/>
              <p:nvPr/>
            </p:nvSpPr>
            <p:spPr>
              <a:xfrm>
                <a:off x="7539327" y="4061087"/>
                <a:ext cx="230787" cy="367880"/>
              </a:xfrm>
              <a:custGeom>
                <a:avLst/>
                <a:gdLst>
                  <a:gd name="connsiteX0" fmla="*/ 230788 w 230787"/>
                  <a:gd name="connsiteY0" fmla="*/ 246794 h 367880"/>
                  <a:gd name="connsiteX1" fmla="*/ 115394 w 230787"/>
                  <a:gd name="connsiteY1" fmla="*/ 367881 h 367880"/>
                  <a:gd name="connsiteX2" fmla="*/ 0 w 230787"/>
                  <a:gd name="connsiteY2" fmla="*/ 246794 h 367880"/>
                  <a:gd name="connsiteX3" fmla="*/ 0 w 230787"/>
                  <a:gd name="connsiteY3" fmla="*/ 121087 h 367880"/>
                  <a:gd name="connsiteX4" fmla="*/ 115394 w 230787"/>
                  <a:gd name="connsiteY4" fmla="*/ 0 h 367880"/>
                  <a:gd name="connsiteX5" fmla="*/ 230788 w 230787"/>
                  <a:gd name="connsiteY5" fmla="*/ 121087 h 367880"/>
                  <a:gd name="connsiteX6" fmla="*/ 230788 w 230787"/>
                  <a:gd name="connsiteY6" fmla="*/ 246794 h 367880"/>
                  <a:gd name="connsiteX7" fmla="*/ 191408 w 230787"/>
                  <a:gd name="connsiteY7" fmla="*/ 121087 h 367880"/>
                  <a:gd name="connsiteX8" fmla="*/ 115327 w 230787"/>
                  <a:gd name="connsiteY8" fmla="*/ 38844 h 367880"/>
                  <a:gd name="connsiteX9" fmla="*/ 39246 w 230787"/>
                  <a:gd name="connsiteY9" fmla="*/ 121087 h 367880"/>
                  <a:gd name="connsiteX10" fmla="*/ 39246 w 230787"/>
                  <a:gd name="connsiteY10" fmla="*/ 246794 h 367880"/>
                  <a:gd name="connsiteX11" fmla="*/ 115327 w 230787"/>
                  <a:gd name="connsiteY11" fmla="*/ 329037 h 367880"/>
                  <a:gd name="connsiteX12" fmla="*/ 191408 w 230787"/>
                  <a:gd name="connsiteY12" fmla="*/ 246794 h 367880"/>
                  <a:gd name="connsiteX13" fmla="*/ 191408 w 230787"/>
                  <a:gd name="connsiteY13" fmla="*/ 121087 h 36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30787" h="367880">
                    <a:moveTo>
                      <a:pt x="230788" y="246794"/>
                    </a:moveTo>
                    <a:cubicBezTo>
                      <a:pt x="230788" y="321938"/>
                      <a:pt x="183840" y="367881"/>
                      <a:pt x="115394" y="367881"/>
                    </a:cubicBezTo>
                    <a:cubicBezTo>
                      <a:pt x="46948" y="367881"/>
                      <a:pt x="0" y="321938"/>
                      <a:pt x="0" y="246794"/>
                    </a:cubicBezTo>
                    <a:lnTo>
                      <a:pt x="0" y="121087"/>
                    </a:lnTo>
                    <a:cubicBezTo>
                      <a:pt x="0" y="45943"/>
                      <a:pt x="46948" y="0"/>
                      <a:pt x="115394" y="0"/>
                    </a:cubicBezTo>
                    <a:cubicBezTo>
                      <a:pt x="183840" y="0"/>
                      <a:pt x="230788" y="45943"/>
                      <a:pt x="230788" y="121087"/>
                    </a:cubicBezTo>
                    <a:lnTo>
                      <a:pt x="230788" y="246794"/>
                    </a:lnTo>
                    <a:close/>
                    <a:moveTo>
                      <a:pt x="191408" y="121087"/>
                    </a:moveTo>
                    <a:cubicBezTo>
                      <a:pt x="191408" y="67040"/>
                      <a:pt x="157721" y="38844"/>
                      <a:pt x="115327" y="38844"/>
                    </a:cubicBezTo>
                    <a:cubicBezTo>
                      <a:pt x="72933" y="38844"/>
                      <a:pt x="39246" y="66839"/>
                      <a:pt x="39246" y="121087"/>
                    </a:cubicBezTo>
                    <a:lnTo>
                      <a:pt x="39246" y="246794"/>
                    </a:lnTo>
                    <a:cubicBezTo>
                      <a:pt x="39246" y="300841"/>
                      <a:pt x="72933" y="329037"/>
                      <a:pt x="115327" y="329037"/>
                    </a:cubicBezTo>
                    <a:cubicBezTo>
                      <a:pt x="157721" y="329037"/>
                      <a:pt x="191408" y="301042"/>
                      <a:pt x="191408" y="246794"/>
                    </a:cubicBezTo>
                    <a:lnTo>
                      <a:pt x="191408" y="121087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28" name="Forma Livre: Forma 27">
                <a:extLst>
                  <a:ext uri="{FF2B5EF4-FFF2-40B4-BE49-F238E27FC236}">
                    <a16:creationId xmlns:a16="http://schemas.microsoft.com/office/drawing/2014/main" id="{7426BA65-CADA-44F5-B050-2A7052C5B076}"/>
                  </a:ext>
                </a:extLst>
              </p:cNvPr>
              <p:cNvSpPr/>
              <p:nvPr/>
            </p:nvSpPr>
            <p:spPr>
              <a:xfrm>
                <a:off x="7841575" y="4066244"/>
                <a:ext cx="203328" cy="357633"/>
              </a:xfrm>
              <a:custGeom>
                <a:avLst/>
                <a:gdLst>
                  <a:gd name="connsiteX0" fmla="*/ 0 w 203328"/>
                  <a:gd name="connsiteY0" fmla="*/ 0 h 357633"/>
                  <a:gd name="connsiteX1" fmla="*/ 39380 w 203328"/>
                  <a:gd name="connsiteY1" fmla="*/ 0 h 357633"/>
                  <a:gd name="connsiteX2" fmla="*/ 39380 w 203328"/>
                  <a:gd name="connsiteY2" fmla="*/ 318790 h 357633"/>
                  <a:gd name="connsiteX3" fmla="*/ 203329 w 203328"/>
                  <a:gd name="connsiteY3" fmla="*/ 318790 h 357633"/>
                  <a:gd name="connsiteX4" fmla="*/ 203329 w 203328"/>
                  <a:gd name="connsiteY4" fmla="*/ 357634 h 357633"/>
                  <a:gd name="connsiteX5" fmla="*/ 0 w 203328"/>
                  <a:gd name="connsiteY5" fmla="*/ 357634 h 357633"/>
                  <a:gd name="connsiteX6" fmla="*/ 0 w 203328"/>
                  <a:gd name="connsiteY6" fmla="*/ 0 h 357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3328" h="357633">
                    <a:moveTo>
                      <a:pt x="0" y="0"/>
                    </a:moveTo>
                    <a:lnTo>
                      <a:pt x="39380" y="0"/>
                    </a:lnTo>
                    <a:lnTo>
                      <a:pt x="39380" y="318790"/>
                    </a:lnTo>
                    <a:lnTo>
                      <a:pt x="203329" y="318790"/>
                    </a:lnTo>
                    <a:lnTo>
                      <a:pt x="203329" y="357634"/>
                    </a:lnTo>
                    <a:lnTo>
                      <a:pt x="0" y="35763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</p:grpSp>
        <p:grpSp>
          <p:nvGrpSpPr>
            <p:cNvPr id="29" name="Gráfico 3">
              <a:extLst>
                <a:ext uri="{FF2B5EF4-FFF2-40B4-BE49-F238E27FC236}">
                  <a16:creationId xmlns:a16="http://schemas.microsoft.com/office/drawing/2014/main" id="{EAAFC5EC-B03E-4548-A127-46D2447F0ADF}"/>
                </a:ext>
              </a:extLst>
            </p:cNvPr>
            <p:cNvGrpSpPr/>
            <p:nvPr/>
          </p:nvGrpSpPr>
          <p:grpSpPr>
            <a:xfrm>
              <a:off x="4147095" y="2502567"/>
              <a:ext cx="1925329" cy="1927272"/>
              <a:chOff x="4147095" y="2502567"/>
              <a:chExt cx="1925329" cy="1927272"/>
            </a:xfrm>
            <a:solidFill>
              <a:srgbClr val="D0D3D4"/>
            </a:solidFill>
          </p:grpSpPr>
          <p:sp>
            <p:nvSpPr>
              <p:cNvPr id="30" name="Forma Livre: Forma 29">
                <a:extLst>
                  <a:ext uri="{FF2B5EF4-FFF2-40B4-BE49-F238E27FC236}">
                    <a16:creationId xmlns:a16="http://schemas.microsoft.com/office/drawing/2014/main" id="{39B591D8-1050-4C98-A4E9-845427E4831B}"/>
                  </a:ext>
                </a:extLst>
              </p:cNvPr>
              <p:cNvSpPr/>
              <p:nvPr/>
            </p:nvSpPr>
            <p:spPr>
              <a:xfrm>
                <a:off x="4625615" y="3946899"/>
                <a:ext cx="482939" cy="482939"/>
              </a:xfrm>
              <a:custGeom>
                <a:avLst/>
                <a:gdLst>
                  <a:gd name="connsiteX0" fmla="*/ 0 w 482939"/>
                  <a:gd name="connsiteY0" fmla="*/ 482940 h 482939"/>
                  <a:gd name="connsiteX1" fmla="*/ 63490 w 482939"/>
                  <a:gd name="connsiteY1" fmla="*/ 482940 h 482939"/>
                  <a:gd name="connsiteX2" fmla="*/ 482940 w 482939"/>
                  <a:gd name="connsiteY2" fmla="*/ 482940 h 482939"/>
                  <a:gd name="connsiteX3" fmla="*/ 482940 w 482939"/>
                  <a:gd name="connsiteY3" fmla="*/ 0 h 482939"/>
                  <a:gd name="connsiteX4" fmla="*/ 0 w 482939"/>
                  <a:gd name="connsiteY4" fmla="*/ 482940 h 4829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2939" h="482939">
                    <a:moveTo>
                      <a:pt x="0" y="482940"/>
                    </a:moveTo>
                    <a:lnTo>
                      <a:pt x="63490" y="482940"/>
                    </a:lnTo>
                    <a:lnTo>
                      <a:pt x="482940" y="482940"/>
                    </a:lnTo>
                    <a:lnTo>
                      <a:pt x="482940" y="0"/>
                    </a:lnTo>
                    <a:cubicBezTo>
                      <a:pt x="482873" y="266685"/>
                      <a:pt x="266618" y="482940"/>
                      <a:pt x="0" y="482940"/>
                    </a:cubicBezTo>
                    <a:close/>
                  </a:path>
                </a:pathLst>
              </a:custGeom>
              <a:solidFill>
                <a:srgbClr val="D0D3D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31" name="Forma Livre: Forma 30">
                <a:extLst>
                  <a:ext uri="{FF2B5EF4-FFF2-40B4-BE49-F238E27FC236}">
                    <a16:creationId xmlns:a16="http://schemas.microsoft.com/office/drawing/2014/main" id="{F62CDCC5-6140-4A5D-BAFC-1A641D3D7F98}"/>
                  </a:ext>
                </a:extLst>
              </p:cNvPr>
              <p:cNvSpPr/>
              <p:nvPr/>
            </p:nvSpPr>
            <p:spPr>
              <a:xfrm>
                <a:off x="4147095" y="2502567"/>
                <a:ext cx="1925329" cy="1927137"/>
              </a:xfrm>
              <a:custGeom>
                <a:avLst/>
                <a:gdLst>
                  <a:gd name="connsiteX0" fmla="*/ 0 w 1925329"/>
                  <a:gd name="connsiteY0" fmla="*/ 0 h 1927137"/>
                  <a:gd name="connsiteX1" fmla="*/ 0 w 1925329"/>
                  <a:gd name="connsiteY1" fmla="*/ 961392 h 1927137"/>
                  <a:gd name="connsiteX2" fmla="*/ 478520 w 1925329"/>
                  <a:gd name="connsiteY2" fmla="*/ 961392 h 1927137"/>
                  <a:gd name="connsiteX3" fmla="*/ 552123 w 1925329"/>
                  <a:gd name="connsiteY3" fmla="*/ 966884 h 1927137"/>
                  <a:gd name="connsiteX4" fmla="*/ 687943 w 1925329"/>
                  <a:gd name="connsiteY4" fmla="*/ 1008876 h 1927137"/>
                  <a:gd name="connsiteX5" fmla="*/ 728863 w 1925329"/>
                  <a:gd name="connsiteY5" fmla="*/ 1031245 h 1927137"/>
                  <a:gd name="connsiteX6" fmla="*/ 785589 w 1925329"/>
                  <a:gd name="connsiteY6" fmla="*/ 1071696 h 1927137"/>
                  <a:gd name="connsiteX7" fmla="*/ 878815 w 1925329"/>
                  <a:gd name="connsiteY7" fmla="*/ 1174366 h 1927137"/>
                  <a:gd name="connsiteX8" fmla="*/ 902925 w 1925329"/>
                  <a:gd name="connsiteY8" fmla="*/ 1214281 h 1927137"/>
                  <a:gd name="connsiteX9" fmla="*/ 923285 w 1925329"/>
                  <a:gd name="connsiteY9" fmla="*/ 1256474 h 1927137"/>
                  <a:gd name="connsiteX10" fmla="*/ 945989 w 1925329"/>
                  <a:gd name="connsiteY10" fmla="*/ 1323648 h 1927137"/>
                  <a:gd name="connsiteX11" fmla="*/ 961259 w 1925329"/>
                  <a:gd name="connsiteY11" fmla="*/ 1444399 h 1927137"/>
                  <a:gd name="connsiteX12" fmla="*/ 961259 w 1925329"/>
                  <a:gd name="connsiteY12" fmla="*/ 1141750 h 1927137"/>
                  <a:gd name="connsiteX13" fmla="*/ 1261765 w 1925329"/>
                  <a:gd name="connsiteY13" fmla="*/ 1141750 h 1927137"/>
                  <a:gd name="connsiteX14" fmla="*/ 1261765 w 1925329"/>
                  <a:gd name="connsiteY14" fmla="*/ 1927138 h 1927137"/>
                  <a:gd name="connsiteX15" fmla="*/ 1925330 w 1925329"/>
                  <a:gd name="connsiteY15" fmla="*/ 1927138 h 1927137"/>
                  <a:gd name="connsiteX16" fmla="*/ 1925330 w 1925329"/>
                  <a:gd name="connsiteY16" fmla="*/ 1927138 h 1927137"/>
                  <a:gd name="connsiteX17" fmla="*/ 1925330 w 1925329"/>
                  <a:gd name="connsiteY17" fmla="*/ 0 h 1927137"/>
                  <a:gd name="connsiteX18" fmla="*/ 0 w 1925329"/>
                  <a:gd name="connsiteY18" fmla="*/ 0 h 1927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25329" h="1927137">
                    <a:moveTo>
                      <a:pt x="0" y="0"/>
                    </a:moveTo>
                    <a:lnTo>
                      <a:pt x="0" y="961392"/>
                    </a:lnTo>
                    <a:lnTo>
                      <a:pt x="478520" y="961392"/>
                    </a:lnTo>
                    <a:cubicBezTo>
                      <a:pt x="503500" y="961392"/>
                      <a:pt x="528146" y="963335"/>
                      <a:pt x="552123" y="966884"/>
                    </a:cubicBezTo>
                    <a:cubicBezTo>
                      <a:pt x="600008" y="974184"/>
                      <a:pt x="645750" y="988516"/>
                      <a:pt x="687943" y="1008876"/>
                    </a:cubicBezTo>
                    <a:cubicBezTo>
                      <a:pt x="701940" y="1015640"/>
                      <a:pt x="715804" y="1023074"/>
                      <a:pt x="728863" y="1031245"/>
                    </a:cubicBezTo>
                    <a:cubicBezTo>
                      <a:pt x="748687" y="1043300"/>
                      <a:pt x="767708" y="1056762"/>
                      <a:pt x="785589" y="1071696"/>
                    </a:cubicBezTo>
                    <a:cubicBezTo>
                      <a:pt x="821420" y="1101298"/>
                      <a:pt x="852763" y="1135856"/>
                      <a:pt x="878815" y="1174366"/>
                    </a:cubicBezTo>
                    <a:cubicBezTo>
                      <a:pt x="887522" y="1187157"/>
                      <a:pt x="895491" y="1200418"/>
                      <a:pt x="902925" y="1214281"/>
                    </a:cubicBezTo>
                    <a:cubicBezTo>
                      <a:pt x="910359" y="1227944"/>
                      <a:pt x="917124" y="1242142"/>
                      <a:pt x="923285" y="1256474"/>
                    </a:cubicBezTo>
                    <a:cubicBezTo>
                      <a:pt x="932527" y="1278106"/>
                      <a:pt x="940095" y="1300609"/>
                      <a:pt x="945989" y="1323648"/>
                    </a:cubicBezTo>
                    <a:cubicBezTo>
                      <a:pt x="955901" y="1362291"/>
                      <a:pt x="961259" y="1402742"/>
                      <a:pt x="961259" y="1444399"/>
                    </a:cubicBezTo>
                    <a:lnTo>
                      <a:pt x="961259" y="1141750"/>
                    </a:lnTo>
                    <a:lnTo>
                      <a:pt x="1261765" y="1141750"/>
                    </a:lnTo>
                    <a:lnTo>
                      <a:pt x="1261765" y="1927138"/>
                    </a:lnTo>
                    <a:lnTo>
                      <a:pt x="1925330" y="1927138"/>
                    </a:lnTo>
                    <a:lnTo>
                      <a:pt x="1925330" y="1927138"/>
                    </a:lnTo>
                    <a:lnTo>
                      <a:pt x="192533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0D3D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</p:grpSp>
        <p:sp>
          <p:nvSpPr>
            <p:cNvPr id="32" name="Forma Livre: Forma 31">
              <a:extLst>
                <a:ext uri="{FF2B5EF4-FFF2-40B4-BE49-F238E27FC236}">
                  <a16:creationId xmlns:a16="http://schemas.microsoft.com/office/drawing/2014/main" id="{42CBA791-F25F-478B-97D2-F89A66CD457C}"/>
                </a:ext>
              </a:extLst>
            </p:cNvPr>
            <p:cNvSpPr/>
            <p:nvPr/>
          </p:nvSpPr>
          <p:spPr>
            <a:xfrm>
              <a:off x="5108488" y="3644317"/>
              <a:ext cx="300506" cy="785388"/>
            </a:xfrm>
            <a:custGeom>
              <a:avLst/>
              <a:gdLst>
                <a:gd name="connsiteX0" fmla="*/ 0 w 300506"/>
                <a:gd name="connsiteY0" fmla="*/ 0 h 785388"/>
                <a:gd name="connsiteX1" fmla="*/ 300506 w 300506"/>
                <a:gd name="connsiteY1" fmla="*/ 0 h 785388"/>
                <a:gd name="connsiteX2" fmla="*/ 300506 w 300506"/>
                <a:gd name="connsiteY2" fmla="*/ 785389 h 785388"/>
                <a:gd name="connsiteX3" fmla="*/ 0 w 300506"/>
                <a:gd name="connsiteY3" fmla="*/ 785389 h 78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0506" h="785388">
                  <a:moveTo>
                    <a:pt x="0" y="0"/>
                  </a:moveTo>
                  <a:lnTo>
                    <a:pt x="300506" y="0"/>
                  </a:lnTo>
                  <a:lnTo>
                    <a:pt x="300506" y="785389"/>
                  </a:lnTo>
                  <a:lnTo>
                    <a:pt x="0" y="785389"/>
                  </a:lnTo>
                  <a:close/>
                </a:path>
              </a:pathLst>
            </a:custGeom>
            <a:solidFill>
              <a:srgbClr val="1F2A44"/>
            </a:solidFill>
            <a:ln w="66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33" name="Forma Livre: Forma 32">
              <a:extLst>
                <a:ext uri="{FF2B5EF4-FFF2-40B4-BE49-F238E27FC236}">
                  <a16:creationId xmlns:a16="http://schemas.microsoft.com/office/drawing/2014/main" id="{0498B8FC-502B-4EEF-BA02-CE02B8D523A1}"/>
                </a:ext>
              </a:extLst>
            </p:cNvPr>
            <p:cNvSpPr/>
            <p:nvPr/>
          </p:nvSpPr>
          <p:spPr>
            <a:xfrm>
              <a:off x="4147095" y="2502299"/>
              <a:ext cx="960856" cy="961660"/>
            </a:xfrm>
            <a:custGeom>
              <a:avLst/>
              <a:gdLst>
                <a:gd name="connsiteX0" fmla="*/ 0 w 960856"/>
                <a:gd name="connsiteY0" fmla="*/ 268 h 961660"/>
                <a:gd name="connsiteX1" fmla="*/ 0 w 960856"/>
                <a:gd name="connsiteY1" fmla="*/ 961660 h 961660"/>
                <a:gd name="connsiteX2" fmla="*/ 480797 w 960856"/>
                <a:gd name="connsiteY2" fmla="*/ 961660 h 961660"/>
                <a:gd name="connsiteX3" fmla="*/ 60074 w 960856"/>
                <a:gd name="connsiteY3" fmla="*/ 540938 h 961660"/>
                <a:gd name="connsiteX4" fmla="*/ 480797 w 960856"/>
                <a:gd name="connsiteY4" fmla="*/ 119144 h 961660"/>
                <a:gd name="connsiteX5" fmla="*/ 960857 w 960856"/>
                <a:gd name="connsiteY5" fmla="*/ 119144 h 961660"/>
                <a:gd name="connsiteX6" fmla="*/ 960857 w 960856"/>
                <a:gd name="connsiteY6" fmla="*/ 0 h 961660"/>
                <a:gd name="connsiteX7" fmla="*/ 0 w 960856"/>
                <a:gd name="connsiteY7" fmla="*/ 0 h 961660"/>
                <a:gd name="connsiteX8" fmla="*/ 0 w 960856"/>
                <a:gd name="connsiteY8" fmla="*/ 268 h 961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0856" h="961660">
                  <a:moveTo>
                    <a:pt x="0" y="268"/>
                  </a:moveTo>
                  <a:lnTo>
                    <a:pt x="0" y="961660"/>
                  </a:lnTo>
                  <a:lnTo>
                    <a:pt x="480797" y="961660"/>
                  </a:lnTo>
                  <a:cubicBezTo>
                    <a:pt x="248535" y="961660"/>
                    <a:pt x="60074" y="773400"/>
                    <a:pt x="60074" y="540938"/>
                  </a:cubicBezTo>
                  <a:cubicBezTo>
                    <a:pt x="60074" y="308476"/>
                    <a:pt x="248335" y="119144"/>
                    <a:pt x="480797" y="119144"/>
                  </a:cubicBezTo>
                  <a:lnTo>
                    <a:pt x="960857" y="119144"/>
                  </a:lnTo>
                  <a:lnTo>
                    <a:pt x="960857" y="0"/>
                  </a:lnTo>
                  <a:lnTo>
                    <a:pt x="0" y="0"/>
                  </a:lnTo>
                  <a:lnTo>
                    <a:pt x="0" y="268"/>
                  </a:lnTo>
                  <a:close/>
                </a:path>
              </a:pathLst>
            </a:custGeom>
            <a:solidFill>
              <a:srgbClr val="1F2A44"/>
            </a:solidFill>
            <a:ln w="66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34" name="Forma Livre: Forma 33">
              <a:extLst>
                <a:ext uri="{FF2B5EF4-FFF2-40B4-BE49-F238E27FC236}">
                  <a16:creationId xmlns:a16="http://schemas.microsoft.com/office/drawing/2014/main" id="{B9A8F600-94F6-4D68-8985-4380C20BC19B}"/>
                </a:ext>
              </a:extLst>
            </p:cNvPr>
            <p:cNvSpPr/>
            <p:nvPr/>
          </p:nvSpPr>
          <p:spPr>
            <a:xfrm>
              <a:off x="4147095" y="3463959"/>
              <a:ext cx="961459" cy="965678"/>
            </a:xfrm>
            <a:custGeom>
              <a:avLst/>
              <a:gdLst>
                <a:gd name="connsiteX0" fmla="*/ 923486 w 961459"/>
                <a:gd name="connsiteY0" fmla="*/ 295082 h 965678"/>
                <a:gd name="connsiteX1" fmla="*/ 903126 w 961459"/>
                <a:gd name="connsiteY1" fmla="*/ 252889 h 965678"/>
                <a:gd name="connsiteX2" fmla="*/ 879016 w 961459"/>
                <a:gd name="connsiteY2" fmla="*/ 212973 h 965678"/>
                <a:gd name="connsiteX3" fmla="*/ 785790 w 961459"/>
                <a:gd name="connsiteY3" fmla="*/ 110304 h 965678"/>
                <a:gd name="connsiteX4" fmla="*/ 729064 w 961459"/>
                <a:gd name="connsiteY4" fmla="*/ 69853 h 965678"/>
                <a:gd name="connsiteX5" fmla="*/ 688144 w 961459"/>
                <a:gd name="connsiteY5" fmla="*/ 47484 h 965678"/>
                <a:gd name="connsiteX6" fmla="*/ 552324 w 961459"/>
                <a:gd name="connsiteY6" fmla="*/ 5492 h 965678"/>
                <a:gd name="connsiteX7" fmla="*/ 478721 w 961459"/>
                <a:gd name="connsiteY7" fmla="*/ 0 h 965678"/>
                <a:gd name="connsiteX8" fmla="*/ 0 w 961459"/>
                <a:gd name="connsiteY8" fmla="*/ 0 h 965678"/>
                <a:gd name="connsiteX9" fmla="*/ 0 w 961459"/>
                <a:gd name="connsiteY9" fmla="*/ 965679 h 965678"/>
                <a:gd name="connsiteX10" fmla="*/ 478520 w 961459"/>
                <a:gd name="connsiteY10" fmla="*/ 965679 h 965678"/>
                <a:gd name="connsiteX11" fmla="*/ 961459 w 961459"/>
                <a:gd name="connsiteY11" fmla="*/ 482739 h 965678"/>
                <a:gd name="connsiteX12" fmla="*/ 946190 w 961459"/>
                <a:gd name="connsiteY12" fmla="*/ 361988 h 965678"/>
                <a:gd name="connsiteX13" fmla="*/ 923486 w 961459"/>
                <a:gd name="connsiteY13" fmla="*/ 295082 h 965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61459" h="965678">
                  <a:moveTo>
                    <a:pt x="923486" y="295082"/>
                  </a:moveTo>
                  <a:cubicBezTo>
                    <a:pt x="917458" y="280750"/>
                    <a:pt x="910560" y="266552"/>
                    <a:pt x="903126" y="252889"/>
                  </a:cubicBezTo>
                  <a:cubicBezTo>
                    <a:pt x="895692" y="239227"/>
                    <a:pt x="887723" y="225966"/>
                    <a:pt x="879016" y="212973"/>
                  </a:cubicBezTo>
                  <a:cubicBezTo>
                    <a:pt x="852964" y="174531"/>
                    <a:pt x="821554" y="139906"/>
                    <a:pt x="785790" y="110304"/>
                  </a:cubicBezTo>
                  <a:cubicBezTo>
                    <a:pt x="767909" y="95570"/>
                    <a:pt x="748888" y="82109"/>
                    <a:pt x="729064" y="69853"/>
                  </a:cubicBezTo>
                  <a:cubicBezTo>
                    <a:pt x="715737" y="61883"/>
                    <a:pt x="702141" y="54449"/>
                    <a:pt x="688144" y="47484"/>
                  </a:cubicBezTo>
                  <a:cubicBezTo>
                    <a:pt x="645951" y="27124"/>
                    <a:pt x="600209" y="12725"/>
                    <a:pt x="552324" y="5492"/>
                  </a:cubicBezTo>
                  <a:cubicBezTo>
                    <a:pt x="528414" y="1741"/>
                    <a:pt x="503768" y="0"/>
                    <a:pt x="478721" y="0"/>
                  </a:cubicBezTo>
                  <a:lnTo>
                    <a:pt x="0" y="0"/>
                  </a:lnTo>
                  <a:lnTo>
                    <a:pt x="0" y="965679"/>
                  </a:lnTo>
                  <a:lnTo>
                    <a:pt x="478520" y="965679"/>
                  </a:lnTo>
                  <a:cubicBezTo>
                    <a:pt x="745138" y="965679"/>
                    <a:pt x="961459" y="749558"/>
                    <a:pt x="961459" y="482739"/>
                  </a:cubicBezTo>
                  <a:cubicBezTo>
                    <a:pt x="961459" y="441082"/>
                    <a:pt x="956169" y="400630"/>
                    <a:pt x="946190" y="361988"/>
                  </a:cubicBezTo>
                  <a:cubicBezTo>
                    <a:pt x="940162" y="339217"/>
                    <a:pt x="932527" y="316714"/>
                    <a:pt x="923486" y="295082"/>
                  </a:cubicBezTo>
                  <a:close/>
                </a:path>
              </a:pathLst>
            </a:custGeom>
            <a:solidFill>
              <a:srgbClr val="63B1BC"/>
            </a:solidFill>
            <a:ln w="66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35" name="Forma Livre: Forma 34">
              <a:extLst>
                <a:ext uri="{FF2B5EF4-FFF2-40B4-BE49-F238E27FC236}">
                  <a16:creationId xmlns:a16="http://schemas.microsoft.com/office/drawing/2014/main" id="{D6C7E4FA-607B-4740-B85F-8C4388D1AB61}"/>
                </a:ext>
              </a:extLst>
            </p:cNvPr>
            <p:cNvSpPr/>
            <p:nvPr/>
          </p:nvSpPr>
          <p:spPr>
            <a:xfrm>
              <a:off x="5107952" y="2502567"/>
              <a:ext cx="964607" cy="961392"/>
            </a:xfrm>
            <a:custGeom>
              <a:avLst/>
              <a:gdLst>
                <a:gd name="connsiteX0" fmla="*/ 480462 w 964607"/>
                <a:gd name="connsiteY0" fmla="*/ 119144 h 961392"/>
                <a:gd name="connsiteX1" fmla="*/ 901854 w 964607"/>
                <a:gd name="connsiteY1" fmla="*/ 540536 h 961392"/>
                <a:gd name="connsiteX2" fmla="*/ 499214 w 964607"/>
                <a:gd name="connsiteY2" fmla="*/ 961392 h 961392"/>
                <a:gd name="connsiteX3" fmla="*/ 964607 w 964607"/>
                <a:gd name="connsiteY3" fmla="*/ 961392 h 961392"/>
                <a:gd name="connsiteX4" fmla="*/ 964607 w 964607"/>
                <a:gd name="connsiteY4" fmla="*/ 0 h 961392"/>
                <a:gd name="connsiteX5" fmla="*/ 0 w 964607"/>
                <a:gd name="connsiteY5" fmla="*/ 0 h 961392"/>
                <a:gd name="connsiteX6" fmla="*/ 0 w 964607"/>
                <a:gd name="connsiteY6" fmla="*/ 119144 h 961392"/>
                <a:gd name="connsiteX7" fmla="*/ 480462 w 964607"/>
                <a:gd name="connsiteY7" fmla="*/ 119144 h 961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64607" h="961392">
                  <a:moveTo>
                    <a:pt x="480462" y="119144"/>
                  </a:moveTo>
                  <a:cubicBezTo>
                    <a:pt x="713259" y="119144"/>
                    <a:pt x="901854" y="307806"/>
                    <a:pt x="901854" y="540536"/>
                  </a:cubicBezTo>
                  <a:cubicBezTo>
                    <a:pt x="901854" y="766904"/>
                    <a:pt x="723305" y="951682"/>
                    <a:pt x="499214" y="961392"/>
                  </a:cubicBezTo>
                  <a:lnTo>
                    <a:pt x="964607" y="961392"/>
                  </a:lnTo>
                  <a:lnTo>
                    <a:pt x="964607" y="0"/>
                  </a:lnTo>
                  <a:lnTo>
                    <a:pt x="0" y="0"/>
                  </a:lnTo>
                  <a:lnTo>
                    <a:pt x="0" y="119144"/>
                  </a:lnTo>
                  <a:lnTo>
                    <a:pt x="480462" y="119144"/>
                  </a:lnTo>
                  <a:close/>
                </a:path>
              </a:pathLst>
            </a:custGeom>
            <a:solidFill>
              <a:srgbClr val="63B1BC"/>
            </a:solidFill>
            <a:ln w="66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36" name="Forma Livre: Forma 35">
              <a:extLst>
                <a:ext uri="{FF2B5EF4-FFF2-40B4-BE49-F238E27FC236}">
                  <a16:creationId xmlns:a16="http://schemas.microsoft.com/office/drawing/2014/main" id="{B7AFAEDC-EA3F-41C2-86BB-6AE7BC10C324}"/>
                </a:ext>
              </a:extLst>
            </p:cNvPr>
            <p:cNvSpPr/>
            <p:nvPr/>
          </p:nvSpPr>
          <p:spPr>
            <a:xfrm>
              <a:off x="5107952" y="2621778"/>
              <a:ext cx="901853" cy="842783"/>
            </a:xfrm>
            <a:custGeom>
              <a:avLst/>
              <a:gdLst>
                <a:gd name="connsiteX0" fmla="*/ 0 w 901853"/>
                <a:gd name="connsiteY0" fmla="*/ 842784 h 842783"/>
                <a:gd name="connsiteX1" fmla="*/ 480462 w 901853"/>
                <a:gd name="connsiteY1" fmla="*/ 842784 h 842783"/>
                <a:gd name="connsiteX2" fmla="*/ 901854 w 901853"/>
                <a:gd name="connsiteY2" fmla="*/ 421392 h 842783"/>
                <a:gd name="connsiteX3" fmla="*/ 480462 w 901853"/>
                <a:gd name="connsiteY3" fmla="*/ 0 h 842783"/>
                <a:gd name="connsiteX4" fmla="*/ 0 w 901853"/>
                <a:gd name="connsiteY4" fmla="*/ 0 h 842783"/>
                <a:gd name="connsiteX5" fmla="*/ 0 w 901853"/>
                <a:gd name="connsiteY5" fmla="*/ 842784 h 842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01853" h="842783">
                  <a:moveTo>
                    <a:pt x="0" y="842784"/>
                  </a:moveTo>
                  <a:lnTo>
                    <a:pt x="480462" y="842784"/>
                  </a:lnTo>
                  <a:cubicBezTo>
                    <a:pt x="713259" y="842784"/>
                    <a:pt x="901854" y="654122"/>
                    <a:pt x="901854" y="421392"/>
                  </a:cubicBezTo>
                  <a:cubicBezTo>
                    <a:pt x="901854" y="188662"/>
                    <a:pt x="713192" y="0"/>
                    <a:pt x="480462" y="0"/>
                  </a:cubicBezTo>
                  <a:lnTo>
                    <a:pt x="0" y="0"/>
                  </a:lnTo>
                  <a:lnTo>
                    <a:pt x="0" y="842784"/>
                  </a:lnTo>
                  <a:close/>
                </a:path>
              </a:pathLst>
            </a:custGeom>
            <a:solidFill>
              <a:srgbClr val="1F2A44"/>
            </a:solidFill>
            <a:ln w="66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</p:grpSp>
    </p:spTree>
    <p:extLst>
      <p:ext uri="{BB962C8B-B14F-4D97-AF65-F5344CB8AC3E}">
        <p14:creationId xmlns:p14="http://schemas.microsoft.com/office/powerpoint/2010/main" val="3122307717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Lista Escur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tângulo: Cantos Superiores Arredondados 18">
            <a:extLst>
              <a:ext uri="{FF2B5EF4-FFF2-40B4-BE49-F238E27FC236}">
                <a16:creationId xmlns:a16="http://schemas.microsoft.com/office/drawing/2014/main" id="{3C17F21B-3DA7-4D5A-A410-F1D8DC98E68D}"/>
              </a:ext>
            </a:extLst>
          </p:cNvPr>
          <p:cNvSpPr/>
          <p:nvPr userDrawn="1"/>
        </p:nvSpPr>
        <p:spPr>
          <a:xfrm rot="16200000">
            <a:off x="12764133" y="6882474"/>
            <a:ext cx="623338" cy="73429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15">
              <a:solidFill>
                <a:schemeClr val="accent1"/>
              </a:solidFill>
            </a:endParaRPr>
          </a:p>
        </p:txBody>
      </p:sp>
      <p:sp>
        <p:nvSpPr>
          <p:cNvPr id="15" name="Retângulo: Cantos Superiores Arredondados 14">
            <a:extLst>
              <a:ext uri="{FF2B5EF4-FFF2-40B4-BE49-F238E27FC236}">
                <a16:creationId xmlns:a16="http://schemas.microsoft.com/office/drawing/2014/main" id="{D6B89357-FCAD-4C13-A78E-1E475DE45692}"/>
              </a:ext>
            </a:extLst>
          </p:cNvPr>
          <p:cNvSpPr/>
          <p:nvPr userDrawn="1"/>
        </p:nvSpPr>
        <p:spPr>
          <a:xfrm rot="5400000">
            <a:off x="87402" y="-85651"/>
            <a:ext cx="1113565" cy="1288368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15">
              <a:solidFill>
                <a:schemeClr val="accent1"/>
              </a:solidFill>
            </a:endParaRPr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5"/>
          </p:nvPr>
        </p:nvSpPr>
        <p:spPr bwMode="auto">
          <a:xfrm>
            <a:off x="12804645" y="7237016"/>
            <a:ext cx="429480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992" b="1">
                <a:solidFill>
                  <a:schemeClr val="accent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dirty="0"/>
          </a:p>
        </p:txBody>
      </p:sp>
      <p:sp>
        <p:nvSpPr>
          <p:cNvPr id="20" name="Espaço Reservado para Texto 17">
            <a:extLst>
              <a:ext uri="{FF2B5EF4-FFF2-40B4-BE49-F238E27FC236}">
                <a16:creationId xmlns:a16="http://schemas.microsoft.com/office/drawing/2014/main" id="{B40EB3AF-7535-459F-93E5-10ADE94E0D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96051" y="1331915"/>
            <a:ext cx="9999256" cy="5544985"/>
          </a:xfrm>
          <a:prstGeom prst="rect">
            <a:avLst/>
          </a:prstGeom>
        </p:spPr>
        <p:txBody>
          <a:bodyPr/>
          <a:lstStyle>
            <a:lvl1pPr>
              <a:buClr>
                <a:schemeClr val="accent3"/>
              </a:buClr>
              <a:defRPr lang="pt-BR" sz="2205" dirty="0">
                <a:solidFill>
                  <a:schemeClr val="bg1"/>
                </a:solidFill>
              </a:defRPr>
            </a:lvl1pPr>
            <a:lvl2pPr>
              <a:buClr>
                <a:schemeClr val="accent3"/>
              </a:buClr>
              <a:defRPr lang="pt-BR" sz="2205" dirty="0">
                <a:solidFill>
                  <a:schemeClr val="bg1"/>
                </a:solidFill>
              </a:defRPr>
            </a:lvl2pPr>
            <a:lvl3pPr>
              <a:buClr>
                <a:schemeClr val="accent3"/>
              </a:buClr>
              <a:defRPr lang="pt-BR" sz="2205" dirty="0">
                <a:solidFill>
                  <a:schemeClr val="bg1"/>
                </a:solidFill>
              </a:defRPr>
            </a:lvl3pPr>
            <a:lvl4pPr>
              <a:buClr>
                <a:schemeClr val="accent3"/>
              </a:buClr>
              <a:defRPr lang="pt-BR" sz="2205" dirty="0">
                <a:solidFill>
                  <a:schemeClr val="bg1"/>
                </a:solidFill>
              </a:defRPr>
            </a:lvl4pPr>
            <a:lvl5pPr>
              <a:buClr>
                <a:schemeClr val="accent3"/>
              </a:buClr>
              <a:defRPr lang="pt-BR" sz="2205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/>
              <a:t>Editar estilos de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21" name="Espaço Reservado para Texto 15">
            <a:extLst>
              <a:ext uri="{FF2B5EF4-FFF2-40B4-BE49-F238E27FC236}">
                <a16:creationId xmlns:a16="http://schemas.microsoft.com/office/drawing/2014/main" id="{586BD341-CE0F-429A-A9BC-06EA628F0D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91864" y="108225"/>
            <a:ext cx="10012782" cy="765639"/>
          </a:xfrm>
          <a:prstGeom prst="rect">
            <a:avLst/>
          </a:prstGeom>
        </p:spPr>
        <p:txBody>
          <a:bodyPr anchor="ctr"/>
          <a:lstStyle>
            <a:lvl1pPr>
              <a:buNone/>
              <a:defRPr lang="pt-BR" sz="2756" b="1" dirty="0">
                <a:solidFill>
                  <a:schemeClr val="accent3"/>
                </a:solidFill>
                <a:latin typeface="+mj-lt"/>
              </a:defRPr>
            </a:lvl1pPr>
            <a:lvl2pPr>
              <a:buNone/>
              <a:defRPr sz="3000">
                <a:latin typeface="Exo 2" pitchFamily="50" charset="0"/>
              </a:defRPr>
            </a:lvl2pPr>
            <a:lvl3pPr>
              <a:buNone/>
              <a:defRPr sz="3000">
                <a:latin typeface="Exo 2" pitchFamily="50" charset="0"/>
              </a:defRPr>
            </a:lvl3pPr>
            <a:lvl4pPr>
              <a:buNone/>
              <a:defRPr sz="3000">
                <a:latin typeface="Exo 2" pitchFamily="50" charset="0"/>
              </a:defRPr>
            </a:lvl4pPr>
            <a:lvl5pPr>
              <a:buNone/>
              <a:defRPr sz="3000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grpSp>
        <p:nvGrpSpPr>
          <p:cNvPr id="4" name="Gráfico 9">
            <a:extLst>
              <a:ext uri="{FF2B5EF4-FFF2-40B4-BE49-F238E27FC236}">
                <a16:creationId xmlns:a16="http://schemas.microsoft.com/office/drawing/2014/main" id="{4620E568-4AD4-42CD-AC38-96E63AE71C4E}"/>
              </a:ext>
            </a:extLst>
          </p:cNvPr>
          <p:cNvGrpSpPr/>
          <p:nvPr/>
        </p:nvGrpSpPr>
        <p:grpSpPr>
          <a:xfrm>
            <a:off x="207654" y="314911"/>
            <a:ext cx="861301" cy="352267"/>
            <a:chOff x="234361" y="273733"/>
            <a:chExt cx="781152" cy="319503"/>
          </a:xfrm>
        </p:grpSpPr>
        <p:sp>
          <p:nvSpPr>
            <p:cNvPr id="5" name="Forma Livre: Forma 4">
              <a:extLst>
                <a:ext uri="{FF2B5EF4-FFF2-40B4-BE49-F238E27FC236}">
                  <a16:creationId xmlns:a16="http://schemas.microsoft.com/office/drawing/2014/main" id="{BA446FE8-79E5-4573-BD7D-30B6EECFE450}"/>
                </a:ext>
              </a:extLst>
            </p:cNvPr>
            <p:cNvSpPr/>
            <p:nvPr/>
          </p:nvSpPr>
          <p:spPr>
            <a:xfrm>
              <a:off x="597798" y="274497"/>
              <a:ext cx="80610" cy="132156"/>
            </a:xfrm>
            <a:custGeom>
              <a:avLst/>
              <a:gdLst>
                <a:gd name="connsiteX0" fmla="*/ 0 w 80610"/>
                <a:gd name="connsiteY0" fmla="*/ 92307 h 132156"/>
                <a:gd name="connsiteX1" fmla="*/ 14518 w 80610"/>
                <a:gd name="connsiteY1" fmla="*/ 92307 h 132156"/>
                <a:gd name="connsiteX2" fmla="*/ 41672 w 80610"/>
                <a:gd name="connsiteY2" fmla="*/ 118198 h 132156"/>
                <a:gd name="connsiteX3" fmla="*/ 66269 w 80610"/>
                <a:gd name="connsiteY3" fmla="*/ 97832 h 132156"/>
                <a:gd name="connsiteX4" fmla="*/ 45521 w 80610"/>
                <a:gd name="connsiteY4" fmla="*/ 75262 h 132156"/>
                <a:gd name="connsiteX5" fmla="*/ 29182 w 80610"/>
                <a:gd name="connsiteY5" fmla="*/ 70678 h 132156"/>
                <a:gd name="connsiteX6" fmla="*/ 2204 w 80610"/>
                <a:gd name="connsiteY6" fmla="*/ 34149 h 132156"/>
                <a:gd name="connsiteX7" fmla="*/ 40202 w 80610"/>
                <a:gd name="connsiteY7" fmla="*/ 0 h 132156"/>
                <a:gd name="connsiteX8" fmla="*/ 78935 w 80610"/>
                <a:gd name="connsiteY8" fmla="*/ 34325 h 132156"/>
                <a:gd name="connsiteX9" fmla="*/ 64447 w 80610"/>
                <a:gd name="connsiteY9" fmla="*/ 34325 h 132156"/>
                <a:gd name="connsiteX10" fmla="*/ 40232 w 80610"/>
                <a:gd name="connsiteY10" fmla="*/ 13959 h 132156"/>
                <a:gd name="connsiteX11" fmla="*/ 16545 w 80610"/>
                <a:gd name="connsiteY11" fmla="*/ 34149 h 132156"/>
                <a:gd name="connsiteX12" fmla="*/ 35647 w 80610"/>
                <a:gd name="connsiteY12" fmla="*/ 56895 h 132156"/>
                <a:gd name="connsiteX13" fmla="*/ 50694 w 80610"/>
                <a:gd name="connsiteY13" fmla="*/ 61127 h 132156"/>
                <a:gd name="connsiteX14" fmla="*/ 80610 w 80610"/>
                <a:gd name="connsiteY14" fmla="*/ 97832 h 132156"/>
                <a:gd name="connsiteX15" fmla="*/ 41701 w 80610"/>
                <a:gd name="connsiteY15" fmla="*/ 132157 h 132156"/>
                <a:gd name="connsiteX16" fmla="*/ 0 w 80610"/>
                <a:gd name="connsiteY16" fmla="*/ 92307 h 132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0610" h="132156">
                  <a:moveTo>
                    <a:pt x="0" y="92307"/>
                  </a:moveTo>
                  <a:lnTo>
                    <a:pt x="14518" y="92307"/>
                  </a:lnTo>
                  <a:cubicBezTo>
                    <a:pt x="16722" y="108823"/>
                    <a:pt x="27918" y="118198"/>
                    <a:pt x="41672" y="118198"/>
                  </a:cubicBezTo>
                  <a:cubicBezTo>
                    <a:pt x="56160" y="118198"/>
                    <a:pt x="66269" y="111409"/>
                    <a:pt x="66269" y="97832"/>
                  </a:cubicBezTo>
                  <a:cubicBezTo>
                    <a:pt x="66269" y="86282"/>
                    <a:pt x="60039" y="79288"/>
                    <a:pt x="45521" y="75262"/>
                  </a:cubicBezTo>
                  <a:lnTo>
                    <a:pt x="29182" y="70678"/>
                  </a:lnTo>
                  <a:cubicBezTo>
                    <a:pt x="10080" y="65358"/>
                    <a:pt x="2204" y="49753"/>
                    <a:pt x="2204" y="34149"/>
                  </a:cubicBezTo>
                  <a:cubicBezTo>
                    <a:pt x="2204" y="12137"/>
                    <a:pt x="19631" y="0"/>
                    <a:pt x="40202" y="0"/>
                  </a:cubicBezTo>
                  <a:cubicBezTo>
                    <a:pt x="62419" y="0"/>
                    <a:pt x="76173" y="12490"/>
                    <a:pt x="78935" y="34325"/>
                  </a:cubicBezTo>
                  <a:lnTo>
                    <a:pt x="64447" y="34325"/>
                  </a:lnTo>
                  <a:cubicBezTo>
                    <a:pt x="61685" y="22041"/>
                    <a:pt x="53985" y="13959"/>
                    <a:pt x="40232" y="13959"/>
                  </a:cubicBezTo>
                  <a:cubicBezTo>
                    <a:pt x="24803" y="13959"/>
                    <a:pt x="16545" y="22952"/>
                    <a:pt x="16545" y="34149"/>
                  </a:cubicBezTo>
                  <a:cubicBezTo>
                    <a:pt x="16545" y="45904"/>
                    <a:pt x="22423" y="53251"/>
                    <a:pt x="35647" y="56895"/>
                  </a:cubicBezTo>
                  <a:lnTo>
                    <a:pt x="50694" y="61127"/>
                  </a:lnTo>
                  <a:cubicBezTo>
                    <a:pt x="68855" y="66269"/>
                    <a:pt x="80610" y="77466"/>
                    <a:pt x="80610" y="97832"/>
                  </a:cubicBezTo>
                  <a:cubicBezTo>
                    <a:pt x="80610" y="118374"/>
                    <a:pt x="67386" y="132157"/>
                    <a:pt x="41701" y="132157"/>
                  </a:cubicBezTo>
                  <a:cubicBezTo>
                    <a:pt x="18338" y="132157"/>
                    <a:pt x="1822" y="116905"/>
                    <a:pt x="0" y="92307"/>
                  </a:cubicBezTo>
                  <a:close/>
                </a:path>
              </a:pathLst>
            </a:custGeom>
            <a:solidFill>
              <a:srgbClr val="1F2A44"/>
            </a:solidFill>
            <a:ln w="2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6" name="Forma Livre: Forma 5">
              <a:extLst>
                <a:ext uri="{FF2B5EF4-FFF2-40B4-BE49-F238E27FC236}">
                  <a16:creationId xmlns:a16="http://schemas.microsoft.com/office/drawing/2014/main" id="{0949CE37-9CA6-4022-A0C7-903BF4E41492}"/>
                </a:ext>
              </a:extLst>
            </p:cNvPr>
            <p:cNvSpPr/>
            <p:nvPr/>
          </p:nvSpPr>
          <p:spPr>
            <a:xfrm>
              <a:off x="713761" y="276348"/>
              <a:ext cx="82961" cy="128483"/>
            </a:xfrm>
            <a:custGeom>
              <a:avLst/>
              <a:gdLst>
                <a:gd name="connsiteX0" fmla="*/ 41495 w 82961"/>
                <a:gd name="connsiteY0" fmla="*/ 78553 h 128483"/>
                <a:gd name="connsiteX1" fmla="*/ 14135 w 82961"/>
                <a:gd name="connsiteY1" fmla="*/ 78553 h 128483"/>
                <a:gd name="connsiteX2" fmla="*/ 14135 w 82961"/>
                <a:gd name="connsiteY2" fmla="*/ 128483 h 128483"/>
                <a:gd name="connsiteX3" fmla="*/ 0 w 82961"/>
                <a:gd name="connsiteY3" fmla="*/ 128483 h 128483"/>
                <a:gd name="connsiteX4" fmla="*/ 0 w 82961"/>
                <a:gd name="connsiteY4" fmla="*/ 0 h 128483"/>
                <a:gd name="connsiteX5" fmla="*/ 41495 w 82961"/>
                <a:gd name="connsiteY5" fmla="*/ 0 h 128483"/>
                <a:gd name="connsiteX6" fmla="*/ 82961 w 82961"/>
                <a:gd name="connsiteY6" fmla="*/ 39291 h 128483"/>
                <a:gd name="connsiteX7" fmla="*/ 41495 w 82961"/>
                <a:gd name="connsiteY7" fmla="*/ 78553 h 128483"/>
                <a:gd name="connsiteX8" fmla="*/ 41495 w 82961"/>
                <a:gd name="connsiteY8" fmla="*/ 13930 h 128483"/>
                <a:gd name="connsiteX9" fmla="*/ 14135 w 82961"/>
                <a:gd name="connsiteY9" fmla="*/ 13930 h 128483"/>
                <a:gd name="connsiteX10" fmla="*/ 14135 w 82961"/>
                <a:gd name="connsiteY10" fmla="*/ 64594 h 128483"/>
                <a:gd name="connsiteX11" fmla="*/ 41495 w 82961"/>
                <a:gd name="connsiteY11" fmla="*/ 64594 h 128483"/>
                <a:gd name="connsiteX12" fmla="*/ 68473 w 82961"/>
                <a:gd name="connsiteY12" fmla="*/ 39262 h 128483"/>
                <a:gd name="connsiteX13" fmla="*/ 41495 w 82961"/>
                <a:gd name="connsiteY13" fmla="*/ 13930 h 128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2961" h="128483">
                  <a:moveTo>
                    <a:pt x="41495" y="78553"/>
                  </a:moveTo>
                  <a:lnTo>
                    <a:pt x="14135" y="78553"/>
                  </a:lnTo>
                  <a:lnTo>
                    <a:pt x="14135" y="128483"/>
                  </a:lnTo>
                  <a:lnTo>
                    <a:pt x="0" y="128483"/>
                  </a:lnTo>
                  <a:lnTo>
                    <a:pt x="0" y="0"/>
                  </a:lnTo>
                  <a:lnTo>
                    <a:pt x="41495" y="0"/>
                  </a:lnTo>
                  <a:cubicBezTo>
                    <a:pt x="71236" y="0"/>
                    <a:pt x="82961" y="16516"/>
                    <a:pt x="82961" y="39291"/>
                  </a:cubicBezTo>
                  <a:cubicBezTo>
                    <a:pt x="82991" y="62008"/>
                    <a:pt x="71236" y="78553"/>
                    <a:pt x="41495" y="78553"/>
                  </a:cubicBezTo>
                  <a:close/>
                  <a:moveTo>
                    <a:pt x="41495" y="13930"/>
                  </a:moveTo>
                  <a:lnTo>
                    <a:pt x="14135" y="13930"/>
                  </a:lnTo>
                  <a:lnTo>
                    <a:pt x="14135" y="64594"/>
                  </a:lnTo>
                  <a:lnTo>
                    <a:pt x="41495" y="64594"/>
                  </a:lnTo>
                  <a:cubicBezTo>
                    <a:pt x="61303" y="64594"/>
                    <a:pt x="68473" y="53221"/>
                    <a:pt x="68473" y="39262"/>
                  </a:cubicBezTo>
                  <a:cubicBezTo>
                    <a:pt x="68473" y="25303"/>
                    <a:pt x="61332" y="13930"/>
                    <a:pt x="41495" y="13930"/>
                  </a:cubicBezTo>
                  <a:close/>
                </a:path>
              </a:pathLst>
            </a:custGeom>
            <a:solidFill>
              <a:srgbClr val="1F2A44"/>
            </a:solidFill>
            <a:ln w="2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7" name="Forma Livre: Forma 6">
              <a:extLst>
                <a:ext uri="{FF2B5EF4-FFF2-40B4-BE49-F238E27FC236}">
                  <a16:creationId xmlns:a16="http://schemas.microsoft.com/office/drawing/2014/main" id="{574EC17F-A00A-473B-A877-FB6D41190D8F}"/>
                </a:ext>
              </a:extLst>
            </p:cNvPr>
            <p:cNvSpPr/>
            <p:nvPr/>
          </p:nvSpPr>
          <p:spPr>
            <a:xfrm>
              <a:off x="597798" y="462990"/>
              <a:ext cx="82784" cy="128483"/>
            </a:xfrm>
            <a:custGeom>
              <a:avLst/>
              <a:gdLst>
                <a:gd name="connsiteX0" fmla="*/ 0 w 82784"/>
                <a:gd name="connsiteY0" fmla="*/ 13959 h 128483"/>
                <a:gd name="connsiteX1" fmla="*/ 0 w 82784"/>
                <a:gd name="connsiteY1" fmla="*/ 0 h 128483"/>
                <a:gd name="connsiteX2" fmla="*/ 82785 w 82784"/>
                <a:gd name="connsiteY2" fmla="*/ 0 h 128483"/>
                <a:gd name="connsiteX3" fmla="*/ 82785 w 82784"/>
                <a:gd name="connsiteY3" fmla="*/ 13959 h 128483"/>
                <a:gd name="connsiteX4" fmla="*/ 48460 w 82784"/>
                <a:gd name="connsiteY4" fmla="*/ 13959 h 128483"/>
                <a:gd name="connsiteX5" fmla="*/ 48460 w 82784"/>
                <a:gd name="connsiteY5" fmla="*/ 128483 h 128483"/>
                <a:gd name="connsiteX6" fmla="*/ 34325 w 82784"/>
                <a:gd name="connsiteY6" fmla="*/ 128483 h 128483"/>
                <a:gd name="connsiteX7" fmla="*/ 34325 w 82784"/>
                <a:gd name="connsiteY7" fmla="*/ 13959 h 128483"/>
                <a:gd name="connsiteX8" fmla="*/ 0 w 82784"/>
                <a:gd name="connsiteY8" fmla="*/ 13959 h 128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2784" h="128483">
                  <a:moveTo>
                    <a:pt x="0" y="13959"/>
                  </a:moveTo>
                  <a:lnTo>
                    <a:pt x="0" y="0"/>
                  </a:lnTo>
                  <a:lnTo>
                    <a:pt x="82785" y="0"/>
                  </a:lnTo>
                  <a:lnTo>
                    <a:pt x="82785" y="13959"/>
                  </a:lnTo>
                  <a:lnTo>
                    <a:pt x="48460" y="13959"/>
                  </a:lnTo>
                  <a:lnTo>
                    <a:pt x="48460" y="128483"/>
                  </a:lnTo>
                  <a:lnTo>
                    <a:pt x="34325" y="128483"/>
                  </a:lnTo>
                  <a:lnTo>
                    <a:pt x="34325" y="13959"/>
                  </a:lnTo>
                  <a:lnTo>
                    <a:pt x="0" y="13959"/>
                  </a:lnTo>
                  <a:close/>
                </a:path>
              </a:pathLst>
            </a:custGeom>
            <a:solidFill>
              <a:srgbClr val="1F2A44"/>
            </a:solidFill>
            <a:ln w="2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8" name="Forma Livre: Forma 7">
              <a:extLst>
                <a:ext uri="{FF2B5EF4-FFF2-40B4-BE49-F238E27FC236}">
                  <a16:creationId xmlns:a16="http://schemas.microsoft.com/office/drawing/2014/main" id="{73C6421E-DC82-4398-B2EC-665A2A87C7D0}"/>
                </a:ext>
              </a:extLst>
            </p:cNvPr>
            <p:cNvSpPr/>
            <p:nvPr/>
          </p:nvSpPr>
          <p:spPr>
            <a:xfrm>
              <a:off x="716171" y="462990"/>
              <a:ext cx="73057" cy="128483"/>
            </a:xfrm>
            <a:custGeom>
              <a:avLst/>
              <a:gdLst>
                <a:gd name="connsiteX0" fmla="*/ 14135 w 73057"/>
                <a:gd name="connsiteY0" fmla="*/ 114524 h 128483"/>
                <a:gd name="connsiteX1" fmla="*/ 73058 w 73057"/>
                <a:gd name="connsiteY1" fmla="*/ 114524 h 128483"/>
                <a:gd name="connsiteX2" fmla="*/ 73058 w 73057"/>
                <a:gd name="connsiteY2" fmla="*/ 128483 h 128483"/>
                <a:gd name="connsiteX3" fmla="*/ 0 w 73057"/>
                <a:gd name="connsiteY3" fmla="*/ 128483 h 128483"/>
                <a:gd name="connsiteX4" fmla="*/ 0 w 73057"/>
                <a:gd name="connsiteY4" fmla="*/ 0 h 128483"/>
                <a:gd name="connsiteX5" fmla="*/ 73058 w 73057"/>
                <a:gd name="connsiteY5" fmla="*/ 0 h 128483"/>
                <a:gd name="connsiteX6" fmla="*/ 73058 w 73057"/>
                <a:gd name="connsiteY6" fmla="*/ 13959 h 128483"/>
                <a:gd name="connsiteX7" fmla="*/ 14135 w 73057"/>
                <a:gd name="connsiteY7" fmla="*/ 13959 h 128483"/>
                <a:gd name="connsiteX8" fmla="*/ 14135 w 73057"/>
                <a:gd name="connsiteY8" fmla="*/ 56542 h 128483"/>
                <a:gd name="connsiteX9" fmla="*/ 60215 w 73057"/>
                <a:gd name="connsiteY9" fmla="*/ 56542 h 128483"/>
                <a:gd name="connsiteX10" fmla="*/ 60215 w 73057"/>
                <a:gd name="connsiteY10" fmla="*/ 70501 h 128483"/>
                <a:gd name="connsiteX11" fmla="*/ 14135 w 73057"/>
                <a:gd name="connsiteY11" fmla="*/ 70501 h 128483"/>
                <a:gd name="connsiteX12" fmla="*/ 14135 w 73057"/>
                <a:gd name="connsiteY12" fmla="*/ 114524 h 128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3057" h="128483">
                  <a:moveTo>
                    <a:pt x="14135" y="114524"/>
                  </a:moveTo>
                  <a:lnTo>
                    <a:pt x="73058" y="114524"/>
                  </a:lnTo>
                  <a:lnTo>
                    <a:pt x="73058" y="128483"/>
                  </a:lnTo>
                  <a:lnTo>
                    <a:pt x="0" y="128483"/>
                  </a:lnTo>
                  <a:lnTo>
                    <a:pt x="0" y="0"/>
                  </a:lnTo>
                  <a:lnTo>
                    <a:pt x="73058" y="0"/>
                  </a:lnTo>
                  <a:lnTo>
                    <a:pt x="73058" y="13959"/>
                  </a:lnTo>
                  <a:lnTo>
                    <a:pt x="14135" y="13959"/>
                  </a:lnTo>
                  <a:lnTo>
                    <a:pt x="14135" y="56542"/>
                  </a:lnTo>
                  <a:lnTo>
                    <a:pt x="60215" y="56542"/>
                  </a:lnTo>
                  <a:lnTo>
                    <a:pt x="60215" y="70501"/>
                  </a:lnTo>
                  <a:lnTo>
                    <a:pt x="14135" y="70501"/>
                  </a:lnTo>
                  <a:lnTo>
                    <a:pt x="14135" y="114524"/>
                  </a:lnTo>
                  <a:close/>
                </a:path>
              </a:pathLst>
            </a:custGeom>
            <a:solidFill>
              <a:srgbClr val="1F2A44"/>
            </a:solidFill>
            <a:ln w="2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9" name="Forma Livre: Forma 8">
              <a:extLst>
                <a:ext uri="{FF2B5EF4-FFF2-40B4-BE49-F238E27FC236}">
                  <a16:creationId xmlns:a16="http://schemas.microsoft.com/office/drawing/2014/main" id="{D8EE4358-4542-474C-9D3F-60386F2F2BE1}"/>
                </a:ext>
              </a:extLst>
            </p:cNvPr>
            <p:cNvSpPr/>
            <p:nvPr/>
          </p:nvSpPr>
          <p:spPr>
            <a:xfrm>
              <a:off x="821702" y="461109"/>
              <a:ext cx="82785" cy="132127"/>
            </a:xfrm>
            <a:custGeom>
              <a:avLst/>
              <a:gdLst>
                <a:gd name="connsiteX0" fmla="*/ 82785 w 82785"/>
                <a:gd name="connsiteY0" fmla="*/ 39879 h 132127"/>
                <a:gd name="connsiteX1" fmla="*/ 68649 w 82785"/>
                <a:gd name="connsiteY1" fmla="*/ 39879 h 132127"/>
                <a:gd name="connsiteX2" fmla="*/ 41495 w 82785"/>
                <a:gd name="connsiteY2" fmla="*/ 13989 h 132127"/>
                <a:gd name="connsiteX3" fmla="*/ 14165 w 82785"/>
                <a:gd name="connsiteY3" fmla="*/ 43523 h 132127"/>
                <a:gd name="connsiteX4" fmla="*/ 14165 w 82785"/>
                <a:gd name="connsiteY4" fmla="*/ 88663 h 132127"/>
                <a:gd name="connsiteX5" fmla="*/ 41495 w 82785"/>
                <a:gd name="connsiteY5" fmla="*/ 118198 h 132127"/>
                <a:gd name="connsiteX6" fmla="*/ 68649 w 82785"/>
                <a:gd name="connsiteY6" fmla="*/ 92307 h 132127"/>
                <a:gd name="connsiteX7" fmla="*/ 82785 w 82785"/>
                <a:gd name="connsiteY7" fmla="*/ 92307 h 132127"/>
                <a:gd name="connsiteX8" fmla="*/ 41495 w 82785"/>
                <a:gd name="connsiteY8" fmla="*/ 132127 h 132127"/>
                <a:gd name="connsiteX9" fmla="*/ 0 w 82785"/>
                <a:gd name="connsiteY9" fmla="*/ 88633 h 132127"/>
                <a:gd name="connsiteX10" fmla="*/ 0 w 82785"/>
                <a:gd name="connsiteY10" fmla="*/ 43494 h 132127"/>
                <a:gd name="connsiteX11" fmla="*/ 41495 w 82785"/>
                <a:gd name="connsiteY11" fmla="*/ 0 h 132127"/>
                <a:gd name="connsiteX12" fmla="*/ 82785 w 82785"/>
                <a:gd name="connsiteY12" fmla="*/ 39879 h 132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2785" h="132127">
                  <a:moveTo>
                    <a:pt x="82785" y="39879"/>
                  </a:moveTo>
                  <a:lnTo>
                    <a:pt x="68649" y="39879"/>
                  </a:lnTo>
                  <a:cubicBezTo>
                    <a:pt x="67180" y="22805"/>
                    <a:pt x="55807" y="13989"/>
                    <a:pt x="41495" y="13989"/>
                  </a:cubicBezTo>
                  <a:cubicBezTo>
                    <a:pt x="26273" y="13989"/>
                    <a:pt x="14165" y="24069"/>
                    <a:pt x="14165" y="43523"/>
                  </a:cubicBezTo>
                  <a:lnTo>
                    <a:pt x="14165" y="88663"/>
                  </a:lnTo>
                  <a:cubicBezTo>
                    <a:pt x="14165" y="108118"/>
                    <a:pt x="26273" y="118198"/>
                    <a:pt x="41495" y="118198"/>
                  </a:cubicBezTo>
                  <a:cubicBezTo>
                    <a:pt x="55807" y="118198"/>
                    <a:pt x="67180" y="109381"/>
                    <a:pt x="68649" y="92307"/>
                  </a:cubicBezTo>
                  <a:lnTo>
                    <a:pt x="82785" y="92307"/>
                  </a:lnTo>
                  <a:cubicBezTo>
                    <a:pt x="81316" y="117081"/>
                    <a:pt x="64976" y="132127"/>
                    <a:pt x="41495" y="132127"/>
                  </a:cubicBezTo>
                  <a:cubicBezTo>
                    <a:pt x="16898" y="132127"/>
                    <a:pt x="0" y="115611"/>
                    <a:pt x="0" y="88633"/>
                  </a:cubicBezTo>
                  <a:lnTo>
                    <a:pt x="0" y="43494"/>
                  </a:lnTo>
                  <a:cubicBezTo>
                    <a:pt x="0" y="16516"/>
                    <a:pt x="16898" y="0"/>
                    <a:pt x="41495" y="0"/>
                  </a:cubicBezTo>
                  <a:cubicBezTo>
                    <a:pt x="64976" y="59"/>
                    <a:pt x="81316" y="15105"/>
                    <a:pt x="82785" y="39879"/>
                  </a:cubicBezTo>
                  <a:close/>
                </a:path>
              </a:pathLst>
            </a:custGeom>
            <a:solidFill>
              <a:srgbClr val="1F2A44"/>
            </a:solidFill>
            <a:ln w="2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11" name="Forma Livre: Forma 10">
              <a:extLst>
                <a:ext uri="{FF2B5EF4-FFF2-40B4-BE49-F238E27FC236}">
                  <a16:creationId xmlns:a16="http://schemas.microsoft.com/office/drawing/2014/main" id="{09BCCC78-8A6F-4F22-990C-2C74CF257F52}"/>
                </a:ext>
              </a:extLst>
            </p:cNvPr>
            <p:cNvSpPr/>
            <p:nvPr/>
          </p:nvSpPr>
          <p:spPr>
            <a:xfrm>
              <a:off x="932552" y="462990"/>
              <a:ext cx="82961" cy="128483"/>
            </a:xfrm>
            <a:custGeom>
              <a:avLst/>
              <a:gdLst>
                <a:gd name="connsiteX0" fmla="*/ 68826 w 82961"/>
                <a:gd name="connsiteY0" fmla="*/ 0 h 128483"/>
                <a:gd name="connsiteX1" fmla="*/ 82961 w 82961"/>
                <a:gd name="connsiteY1" fmla="*/ 0 h 128483"/>
                <a:gd name="connsiteX2" fmla="*/ 82961 w 82961"/>
                <a:gd name="connsiteY2" fmla="*/ 128483 h 128483"/>
                <a:gd name="connsiteX3" fmla="*/ 68826 w 82961"/>
                <a:gd name="connsiteY3" fmla="*/ 128483 h 128483"/>
                <a:gd name="connsiteX4" fmla="*/ 68826 w 82961"/>
                <a:gd name="connsiteY4" fmla="*/ 70472 h 128483"/>
                <a:gd name="connsiteX5" fmla="*/ 14135 w 82961"/>
                <a:gd name="connsiteY5" fmla="*/ 70472 h 128483"/>
                <a:gd name="connsiteX6" fmla="*/ 14135 w 82961"/>
                <a:gd name="connsiteY6" fmla="*/ 128483 h 128483"/>
                <a:gd name="connsiteX7" fmla="*/ 0 w 82961"/>
                <a:gd name="connsiteY7" fmla="*/ 128483 h 128483"/>
                <a:gd name="connsiteX8" fmla="*/ 0 w 82961"/>
                <a:gd name="connsiteY8" fmla="*/ 0 h 128483"/>
                <a:gd name="connsiteX9" fmla="*/ 14135 w 82961"/>
                <a:gd name="connsiteY9" fmla="*/ 0 h 128483"/>
                <a:gd name="connsiteX10" fmla="*/ 14135 w 82961"/>
                <a:gd name="connsiteY10" fmla="*/ 56542 h 128483"/>
                <a:gd name="connsiteX11" fmla="*/ 68826 w 82961"/>
                <a:gd name="connsiteY11" fmla="*/ 56542 h 128483"/>
                <a:gd name="connsiteX12" fmla="*/ 68826 w 82961"/>
                <a:gd name="connsiteY12" fmla="*/ 0 h 128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2961" h="128483">
                  <a:moveTo>
                    <a:pt x="68826" y="0"/>
                  </a:moveTo>
                  <a:lnTo>
                    <a:pt x="82961" y="0"/>
                  </a:lnTo>
                  <a:lnTo>
                    <a:pt x="82961" y="128483"/>
                  </a:lnTo>
                  <a:lnTo>
                    <a:pt x="68826" y="128483"/>
                  </a:lnTo>
                  <a:lnTo>
                    <a:pt x="68826" y="70472"/>
                  </a:lnTo>
                  <a:lnTo>
                    <a:pt x="14135" y="70472"/>
                  </a:lnTo>
                  <a:lnTo>
                    <a:pt x="14135" y="128483"/>
                  </a:lnTo>
                  <a:lnTo>
                    <a:pt x="0" y="128483"/>
                  </a:lnTo>
                  <a:lnTo>
                    <a:pt x="0" y="0"/>
                  </a:lnTo>
                  <a:lnTo>
                    <a:pt x="14135" y="0"/>
                  </a:lnTo>
                  <a:lnTo>
                    <a:pt x="14135" y="56542"/>
                  </a:lnTo>
                  <a:lnTo>
                    <a:pt x="68826" y="56542"/>
                  </a:lnTo>
                  <a:lnTo>
                    <a:pt x="68826" y="0"/>
                  </a:lnTo>
                  <a:close/>
                </a:path>
              </a:pathLst>
            </a:custGeom>
            <a:solidFill>
              <a:srgbClr val="1F2A44"/>
            </a:solidFill>
            <a:ln w="2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grpSp>
          <p:nvGrpSpPr>
            <p:cNvPr id="12" name="Gráfico 9">
              <a:extLst>
                <a:ext uri="{FF2B5EF4-FFF2-40B4-BE49-F238E27FC236}">
                  <a16:creationId xmlns:a16="http://schemas.microsoft.com/office/drawing/2014/main" id="{C7664760-EAB8-42BE-8EE1-49B6161A7EBD}"/>
                </a:ext>
              </a:extLst>
            </p:cNvPr>
            <p:cNvGrpSpPr/>
            <p:nvPr/>
          </p:nvGrpSpPr>
          <p:grpSpPr>
            <a:xfrm>
              <a:off x="234361" y="273733"/>
              <a:ext cx="316945" cy="317211"/>
              <a:chOff x="234361" y="273733"/>
              <a:chExt cx="316945" cy="317211"/>
            </a:xfrm>
          </p:grpSpPr>
          <p:grpSp>
            <p:nvGrpSpPr>
              <p:cNvPr id="13" name="Gráfico 9">
                <a:extLst>
                  <a:ext uri="{FF2B5EF4-FFF2-40B4-BE49-F238E27FC236}">
                    <a16:creationId xmlns:a16="http://schemas.microsoft.com/office/drawing/2014/main" id="{E8A46F9F-CDB9-4DB3-AEDF-ED25586311A3}"/>
                  </a:ext>
                </a:extLst>
              </p:cNvPr>
              <p:cNvGrpSpPr/>
              <p:nvPr/>
            </p:nvGrpSpPr>
            <p:grpSpPr>
              <a:xfrm>
                <a:off x="240268" y="273762"/>
                <a:ext cx="311038" cy="317182"/>
                <a:chOff x="240268" y="273762"/>
                <a:chExt cx="311038" cy="317182"/>
              </a:xfrm>
              <a:solidFill>
                <a:srgbClr val="D0D3D4"/>
              </a:solidFill>
            </p:grpSpPr>
            <p:sp>
              <p:nvSpPr>
                <p:cNvPr id="16" name="Forma Livre: Forma 15">
                  <a:extLst>
                    <a:ext uri="{FF2B5EF4-FFF2-40B4-BE49-F238E27FC236}">
                      <a16:creationId xmlns:a16="http://schemas.microsoft.com/office/drawing/2014/main" id="{653F67B4-52D3-47A9-A3D9-FE6BA5AFF691}"/>
                    </a:ext>
                  </a:extLst>
                </p:cNvPr>
                <p:cNvSpPr/>
                <p:nvPr/>
              </p:nvSpPr>
              <p:spPr>
                <a:xfrm>
                  <a:off x="313149" y="511479"/>
                  <a:ext cx="79464" cy="79464"/>
                </a:xfrm>
                <a:custGeom>
                  <a:avLst/>
                  <a:gdLst>
                    <a:gd name="connsiteX0" fmla="*/ 0 w 79464"/>
                    <a:gd name="connsiteY0" fmla="*/ 79464 h 79464"/>
                    <a:gd name="connsiteX1" fmla="*/ 10433 w 79464"/>
                    <a:gd name="connsiteY1" fmla="*/ 79464 h 79464"/>
                    <a:gd name="connsiteX2" fmla="*/ 79464 w 79464"/>
                    <a:gd name="connsiteY2" fmla="*/ 79464 h 79464"/>
                    <a:gd name="connsiteX3" fmla="*/ 79464 w 79464"/>
                    <a:gd name="connsiteY3" fmla="*/ 0 h 79464"/>
                    <a:gd name="connsiteX4" fmla="*/ 0 w 79464"/>
                    <a:gd name="connsiteY4" fmla="*/ 79464 h 794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9464" h="79464">
                      <a:moveTo>
                        <a:pt x="0" y="79464"/>
                      </a:moveTo>
                      <a:lnTo>
                        <a:pt x="10433" y="79464"/>
                      </a:lnTo>
                      <a:lnTo>
                        <a:pt x="79464" y="79464"/>
                      </a:lnTo>
                      <a:lnTo>
                        <a:pt x="79464" y="0"/>
                      </a:lnTo>
                      <a:cubicBezTo>
                        <a:pt x="79464" y="43876"/>
                        <a:pt x="43876" y="79464"/>
                        <a:pt x="0" y="79464"/>
                      </a:cubicBezTo>
                      <a:close/>
                    </a:path>
                  </a:pathLst>
                </a:custGeom>
                <a:solidFill>
                  <a:srgbClr val="D0D3D4"/>
                </a:solidFill>
                <a:ln w="292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 sz="2315"/>
                </a:p>
              </p:txBody>
            </p:sp>
            <p:sp>
              <p:nvSpPr>
                <p:cNvPr id="17" name="Forma Livre: Forma 16">
                  <a:extLst>
                    <a:ext uri="{FF2B5EF4-FFF2-40B4-BE49-F238E27FC236}">
                      <a16:creationId xmlns:a16="http://schemas.microsoft.com/office/drawing/2014/main" id="{05B94CFB-F3FC-4672-8B6B-C0B5BABB271A}"/>
                    </a:ext>
                  </a:extLst>
                </p:cNvPr>
                <p:cNvSpPr/>
                <p:nvPr/>
              </p:nvSpPr>
              <p:spPr>
                <a:xfrm>
                  <a:off x="240268" y="273762"/>
                  <a:ext cx="311038" cy="317182"/>
                </a:xfrm>
                <a:custGeom>
                  <a:avLst/>
                  <a:gdLst>
                    <a:gd name="connsiteX0" fmla="*/ 0 w 311038"/>
                    <a:gd name="connsiteY0" fmla="*/ 0 h 317182"/>
                    <a:gd name="connsiteX1" fmla="*/ 0 w 311038"/>
                    <a:gd name="connsiteY1" fmla="*/ 158224 h 317182"/>
                    <a:gd name="connsiteX2" fmla="*/ 72881 w 311038"/>
                    <a:gd name="connsiteY2" fmla="*/ 158224 h 317182"/>
                    <a:gd name="connsiteX3" fmla="*/ 84989 w 311038"/>
                    <a:gd name="connsiteY3" fmla="*/ 159135 h 317182"/>
                    <a:gd name="connsiteX4" fmla="*/ 107353 w 311038"/>
                    <a:gd name="connsiteY4" fmla="*/ 166070 h 317182"/>
                    <a:gd name="connsiteX5" fmla="*/ 114112 w 311038"/>
                    <a:gd name="connsiteY5" fmla="*/ 169744 h 317182"/>
                    <a:gd name="connsiteX6" fmla="*/ 123458 w 311038"/>
                    <a:gd name="connsiteY6" fmla="*/ 176385 h 317182"/>
                    <a:gd name="connsiteX7" fmla="*/ 138798 w 311038"/>
                    <a:gd name="connsiteY7" fmla="*/ 193283 h 317182"/>
                    <a:gd name="connsiteX8" fmla="*/ 142765 w 311038"/>
                    <a:gd name="connsiteY8" fmla="*/ 199837 h 317182"/>
                    <a:gd name="connsiteX9" fmla="*/ 146115 w 311038"/>
                    <a:gd name="connsiteY9" fmla="*/ 206772 h 317182"/>
                    <a:gd name="connsiteX10" fmla="*/ 149848 w 311038"/>
                    <a:gd name="connsiteY10" fmla="*/ 217851 h 317182"/>
                    <a:gd name="connsiteX11" fmla="*/ 152346 w 311038"/>
                    <a:gd name="connsiteY11" fmla="*/ 237718 h 317182"/>
                    <a:gd name="connsiteX12" fmla="*/ 152346 w 311038"/>
                    <a:gd name="connsiteY12" fmla="*/ 187905 h 317182"/>
                    <a:gd name="connsiteX13" fmla="*/ 201805 w 311038"/>
                    <a:gd name="connsiteY13" fmla="*/ 187905 h 317182"/>
                    <a:gd name="connsiteX14" fmla="*/ 201805 w 311038"/>
                    <a:gd name="connsiteY14" fmla="*/ 317182 h 317182"/>
                    <a:gd name="connsiteX15" fmla="*/ 311039 w 311038"/>
                    <a:gd name="connsiteY15" fmla="*/ 317182 h 317182"/>
                    <a:gd name="connsiteX16" fmla="*/ 311039 w 311038"/>
                    <a:gd name="connsiteY16" fmla="*/ 317182 h 317182"/>
                    <a:gd name="connsiteX17" fmla="*/ 311039 w 311038"/>
                    <a:gd name="connsiteY17" fmla="*/ 0 h 317182"/>
                    <a:gd name="connsiteX18" fmla="*/ 0 w 311038"/>
                    <a:gd name="connsiteY18" fmla="*/ 0 h 3171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311038" h="317182">
                      <a:moveTo>
                        <a:pt x="0" y="0"/>
                      </a:moveTo>
                      <a:lnTo>
                        <a:pt x="0" y="158224"/>
                      </a:lnTo>
                      <a:lnTo>
                        <a:pt x="72881" y="158224"/>
                      </a:lnTo>
                      <a:cubicBezTo>
                        <a:pt x="76996" y="158224"/>
                        <a:pt x="81051" y="158547"/>
                        <a:pt x="84989" y="159135"/>
                      </a:cubicBezTo>
                      <a:cubicBezTo>
                        <a:pt x="92894" y="160340"/>
                        <a:pt x="100388" y="162720"/>
                        <a:pt x="107353" y="166070"/>
                      </a:cubicBezTo>
                      <a:cubicBezTo>
                        <a:pt x="109675" y="167187"/>
                        <a:pt x="111908" y="168421"/>
                        <a:pt x="114112" y="169744"/>
                      </a:cubicBezTo>
                      <a:cubicBezTo>
                        <a:pt x="117404" y="171742"/>
                        <a:pt x="120519" y="173946"/>
                        <a:pt x="123458" y="176385"/>
                      </a:cubicBezTo>
                      <a:cubicBezTo>
                        <a:pt x="129335" y="181234"/>
                        <a:pt x="134507" y="186936"/>
                        <a:pt x="138798" y="193283"/>
                      </a:cubicBezTo>
                      <a:cubicBezTo>
                        <a:pt x="140238" y="195399"/>
                        <a:pt x="141560" y="197574"/>
                        <a:pt x="142765" y="199837"/>
                      </a:cubicBezTo>
                      <a:cubicBezTo>
                        <a:pt x="143999" y="202100"/>
                        <a:pt x="145116" y="204421"/>
                        <a:pt x="146115" y="206772"/>
                      </a:cubicBezTo>
                      <a:cubicBezTo>
                        <a:pt x="147614" y="210328"/>
                        <a:pt x="148878" y="214031"/>
                        <a:pt x="149848" y="217851"/>
                      </a:cubicBezTo>
                      <a:cubicBezTo>
                        <a:pt x="151493" y="224199"/>
                        <a:pt x="152346" y="230841"/>
                        <a:pt x="152346" y="237718"/>
                      </a:cubicBezTo>
                      <a:lnTo>
                        <a:pt x="152346" y="187905"/>
                      </a:lnTo>
                      <a:lnTo>
                        <a:pt x="201805" y="187905"/>
                      </a:lnTo>
                      <a:lnTo>
                        <a:pt x="201805" y="317182"/>
                      </a:lnTo>
                      <a:lnTo>
                        <a:pt x="311039" y="317182"/>
                      </a:lnTo>
                      <a:lnTo>
                        <a:pt x="311039" y="317182"/>
                      </a:lnTo>
                      <a:lnTo>
                        <a:pt x="311039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0D3D4"/>
                </a:solidFill>
                <a:ln w="292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 sz="2315"/>
                </a:p>
              </p:txBody>
            </p:sp>
          </p:grpSp>
          <p:sp>
            <p:nvSpPr>
              <p:cNvPr id="22" name="Forma Livre: Forma 21">
                <a:extLst>
                  <a:ext uri="{FF2B5EF4-FFF2-40B4-BE49-F238E27FC236}">
                    <a16:creationId xmlns:a16="http://schemas.microsoft.com/office/drawing/2014/main" id="{8C725DC1-951A-412E-8138-6A0CDD3EC6A5}"/>
                  </a:ext>
                </a:extLst>
              </p:cNvPr>
              <p:cNvSpPr/>
              <p:nvPr/>
            </p:nvSpPr>
            <p:spPr>
              <a:xfrm>
                <a:off x="392613" y="461667"/>
                <a:ext cx="49459" cy="129276"/>
              </a:xfrm>
              <a:custGeom>
                <a:avLst/>
                <a:gdLst>
                  <a:gd name="connsiteX0" fmla="*/ 0 w 49459"/>
                  <a:gd name="connsiteY0" fmla="*/ 0 h 129276"/>
                  <a:gd name="connsiteX1" fmla="*/ 49459 w 49459"/>
                  <a:gd name="connsiteY1" fmla="*/ 0 h 129276"/>
                  <a:gd name="connsiteX2" fmla="*/ 49459 w 49459"/>
                  <a:gd name="connsiteY2" fmla="*/ 129277 h 129276"/>
                  <a:gd name="connsiteX3" fmla="*/ 0 w 49459"/>
                  <a:gd name="connsiteY3" fmla="*/ 129277 h 129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459" h="129276">
                    <a:moveTo>
                      <a:pt x="0" y="0"/>
                    </a:moveTo>
                    <a:lnTo>
                      <a:pt x="49459" y="0"/>
                    </a:lnTo>
                    <a:lnTo>
                      <a:pt x="49459" y="129277"/>
                    </a:lnTo>
                    <a:lnTo>
                      <a:pt x="0" y="129277"/>
                    </a:lnTo>
                    <a:close/>
                  </a:path>
                </a:pathLst>
              </a:custGeom>
              <a:solidFill>
                <a:srgbClr val="1F2A44"/>
              </a:solidFill>
              <a:ln w="2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23" name="Forma Livre: Forma 22">
                <a:extLst>
                  <a:ext uri="{FF2B5EF4-FFF2-40B4-BE49-F238E27FC236}">
                    <a16:creationId xmlns:a16="http://schemas.microsoft.com/office/drawing/2014/main" id="{A80F4DDD-9D3D-4127-92F5-0348C71D6517}"/>
                  </a:ext>
                </a:extLst>
              </p:cNvPr>
              <p:cNvSpPr/>
              <p:nvPr/>
            </p:nvSpPr>
            <p:spPr>
              <a:xfrm>
                <a:off x="234390" y="273733"/>
                <a:ext cx="158134" cy="158253"/>
              </a:xfrm>
              <a:custGeom>
                <a:avLst/>
                <a:gdLst>
                  <a:gd name="connsiteX0" fmla="*/ 0 w 158134"/>
                  <a:gd name="connsiteY0" fmla="*/ 29 h 158253"/>
                  <a:gd name="connsiteX1" fmla="*/ 0 w 158134"/>
                  <a:gd name="connsiteY1" fmla="*/ 158253 h 158253"/>
                  <a:gd name="connsiteX2" fmla="*/ 79112 w 158134"/>
                  <a:gd name="connsiteY2" fmla="*/ 158253 h 158253"/>
                  <a:gd name="connsiteX3" fmla="*/ 9874 w 158134"/>
                  <a:gd name="connsiteY3" fmla="*/ 89016 h 158253"/>
                  <a:gd name="connsiteX4" fmla="*/ 79112 w 158134"/>
                  <a:gd name="connsiteY4" fmla="*/ 19602 h 158253"/>
                  <a:gd name="connsiteX5" fmla="*/ 158135 w 158134"/>
                  <a:gd name="connsiteY5" fmla="*/ 19602 h 158253"/>
                  <a:gd name="connsiteX6" fmla="*/ 158135 w 158134"/>
                  <a:gd name="connsiteY6" fmla="*/ 0 h 158253"/>
                  <a:gd name="connsiteX7" fmla="*/ 0 w 158134"/>
                  <a:gd name="connsiteY7" fmla="*/ 0 h 158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8134" h="158253">
                    <a:moveTo>
                      <a:pt x="0" y="29"/>
                    </a:moveTo>
                    <a:lnTo>
                      <a:pt x="0" y="158253"/>
                    </a:lnTo>
                    <a:lnTo>
                      <a:pt x="79112" y="158253"/>
                    </a:lnTo>
                    <a:cubicBezTo>
                      <a:pt x="40878" y="158253"/>
                      <a:pt x="9874" y="127249"/>
                      <a:pt x="9874" y="89016"/>
                    </a:cubicBezTo>
                    <a:cubicBezTo>
                      <a:pt x="9874" y="50782"/>
                      <a:pt x="40878" y="19602"/>
                      <a:pt x="79112" y="19602"/>
                    </a:cubicBezTo>
                    <a:lnTo>
                      <a:pt x="158135" y="19602"/>
                    </a:lnTo>
                    <a:lnTo>
                      <a:pt x="15813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F2A44"/>
              </a:solidFill>
              <a:ln w="2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24" name="Forma Livre: Forma 23">
                <a:extLst>
                  <a:ext uri="{FF2B5EF4-FFF2-40B4-BE49-F238E27FC236}">
                    <a16:creationId xmlns:a16="http://schemas.microsoft.com/office/drawing/2014/main" id="{B74741B1-E402-419E-8AF2-EA4C97B578A3}"/>
                  </a:ext>
                </a:extLst>
              </p:cNvPr>
              <p:cNvSpPr/>
              <p:nvPr/>
            </p:nvSpPr>
            <p:spPr>
              <a:xfrm>
                <a:off x="234361" y="431986"/>
                <a:ext cx="158223" cy="158928"/>
              </a:xfrm>
              <a:custGeom>
                <a:avLst/>
                <a:gdLst>
                  <a:gd name="connsiteX0" fmla="*/ 151993 w 158223"/>
                  <a:gd name="connsiteY0" fmla="*/ 48549 h 158928"/>
                  <a:gd name="connsiteX1" fmla="*/ 148643 w 158223"/>
                  <a:gd name="connsiteY1" fmla="*/ 41613 h 158928"/>
                  <a:gd name="connsiteX2" fmla="*/ 144675 w 158223"/>
                  <a:gd name="connsiteY2" fmla="*/ 35060 h 158928"/>
                  <a:gd name="connsiteX3" fmla="*/ 129335 w 158223"/>
                  <a:gd name="connsiteY3" fmla="*/ 18162 h 158928"/>
                  <a:gd name="connsiteX4" fmla="*/ 119990 w 158223"/>
                  <a:gd name="connsiteY4" fmla="*/ 11520 h 158928"/>
                  <a:gd name="connsiteX5" fmla="*/ 113231 w 158223"/>
                  <a:gd name="connsiteY5" fmla="*/ 7847 h 158928"/>
                  <a:gd name="connsiteX6" fmla="*/ 90867 w 158223"/>
                  <a:gd name="connsiteY6" fmla="*/ 911 h 158928"/>
                  <a:gd name="connsiteX7" fmla="*/ 78759 w 158223"/>
                  <a:gd name="connsiteY7" fmla="*/ 0 h 158928"/>
                  <a:gd name="connsiteX8" fmla="*/ 0 w 158223"/>
                  <a:gd name="connsiteY8" fmla="*/ 0 h 158928"/>
                  <a:gd name="connsiteX9" fmla="*/ 0 w 158223"/>
                  <a:gd name="connsiteY9" fmla="*/ 158929 h 158928"/>
                  <a:gd name="connsiteX10" fmla="*/ 78759 w 158223"/>
                  <a:gd name="connsiteY10" fmla="*/ 158929 h 158928"/>
                  <a:gd name="connsiteX11" fmla="*/ 158223 w 158223"/>
                  <a:gd name="connsiteY11" fmla="*/ 79464 h 158928"/>
                  <a:gd name="connsiteX12" fmla="*/ 155725 w 158223"/>
                  <a:gd name="connsiteY12" fmla="*/ 59598 h 158928"/>
                  <a:gd name="connsiteX13" fmla="*/ 151993 w 158223"/>
                  <a:gd name="connsiteY13" fmla="*/ 48549 h 158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8223" h="158928">
                    <a:moveTo>
                      <a:pt x="151993" y="48549"/>
                    </a:moveTo>
                    <a:cubicBezTo>
                      <a:pt x="150994" y="46168"/>
                      <a:pt x="149877" y="43847"/>
                      <a:pt x="148643" y="41613"/>
                    </a:cubicBezTo>
                    <a:cubicBezTo>
                      <a:pt x="147408" y="39350"/>
                      <a:pt x="146086" y="37176"/>
                      <a:pt x="144675" y="35060"/>
                    </a:cubicBezTo>
                    <a:cubicBezTo>
                      <a:pt x="140385" y="28712"/>
                      <a:pt x="135213" y="23040"/>
                      <a:pt x="129335" y="18162"/>
                    </a:cubicBezTo>
                    <a:cubicBezTo>
                      <a:pt x="126396" y="15722"/>
                      <a:pt x="123281" y="13518"/>
                      <a:pt x="119990" y="11520"/>
                    </a:cubicBezTo>
                    <a:cubicBezTo>
                      <a:pt x="117815" y="10198"/>
                      <a:pt x="115552" y="8963"/>
                      <a:pt x="113231" y="7847"/>
                    </a:cubicBezTo>
                    <a:cubicBezTo>
                      <a:pt x="106295" y="4496"/>
                      <a:pt x="98772" y="2145"/>
                      <a:pt x="90867" y="911"/>
                    </a:cubicBezTo>
                    <a:cubicBezTo>
                      <a:pt x="86929" y="294"/>
                      <a:pt x="82873" y="0"/>
                      <a:pt x="78759" y="0"/>
                    </a:cubicBezTo>
                    <a:lnTo>
                      <a:pt x="0" y="0"/>
                    </a:lnTo>
                    <a:lnTo>
                      <a:pt x="0" y="158929"/>
                    </a:lnTo>
                    <a:lnTo>
                      <a:pt x="78759" y="158929"/>
                    </a:lnTo>
                    <a:cubicBezTo>
                      <a:pt x="122635" y="158929"/>
                      <a:pt x="158223" y="123340"/>
                      <a:pt x="158223" y="79464"/>
                    </a:cubicBezTo>
                    <a:cubicBezTo>
                      <a:pt x="158223" y="72617"/>
                      <a:pt x="157341" y="65946"/>
                      <a:pt x="155725" y="59598"/>
                    </a:cubicBezTo>
                    <a:cubicBezTo>
                      <a:pt x="154785" y="55807"/>
                      <a:pt x="153521" y="52134"/>
                      <a:pt x="151993" y="48549"/>
                    </a:cubicBezTo>
                    <a:close/>
                  </a:path>
                </a:pathLst>
              </a:custGeom>
              <a:solidFill>
                <a:srgbClr val="63B1BC"/>
              </a:solidFill>
              <a:ln w="2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25" name="Forma Livre: Forma 24">
                <a:extLst>
                  <a:ext uri="{FF2B5EF4-FFF2-40B4-BE49-F238E27FC236}">
                    <a16:creationId xmlns:a16="http://schemas.microsoft.com/office/drawing/2014/main" id="{971A049F-6170-488E-B94D-E30224F550F0}"/>
                  </a:ext>
                </a:extLst>
              </p:cNvPr>
              <p:cNvSpPr/>
              <p:nvPr/>
            </p:nvSpPr>
            <p:spPr>
              <a:xfrm>
                <a:off x="392525" y="273762"/>
                <a:ext cx="158752" cy="158253"/>
              </a:xfrm>
              <a:custGeom>
                <a:avLst/>
                <a:gdLst>
                  <a:gd name="connsiteX0" fmla="*/ 79082 w 158752"/>
                  <a:gd name="connsiteY0" fmla="*/ 19631 h 158253"/>
                  <a:gd name="connsiteX1" fmla="*/ 148437 w 158752"/>
                  <a:gd name="connsiteY1" fmla="*/ 88986 h 158253"/>
                  <a:gd name="connsiteX2" fmla="*/ 82168 w 158752"/>
                  <a:gd name="connsiteY2" fmla="*/ 158253 h 158253"/>
                  <a:gd name="connsiteX3" fmla="*/ 158752 w 158752"/>
                  <a:gd name="connsiteY3" fmla="*/ 158253 h 158253"/>
                  <a:gd name="connsiteX4" fmla="*/ 158752 w 158752"/>
                  <a:gd name="connsiteY4" fmla="*/ 0 h 158253"/>
                  <a:gd name="connsiteX5" fmla="*/ 0 w 158752"/>
                  <a:gd name="connsiteY5" fmla="*/ 0 h 158253"/>
                  <a:gd name="connsiteX6" fmla="*/ 0 w 158752"/>
                  <a:gd name="connsiteY6" fmla="*/ 19602 h 158253"/>
                  <a:gd name="connsiteX7" fmla="*/ 79082 w 158752"/>
                  <a:gd name="connsiteY7" fmla="*/ 19602 h 158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8752" h="158253">
                    <a:moveTo>
                      <a:pt x="79082" y="19631"/>
                    </a:moveTo>
                    <a:cubicBezTo>
                      <a:pt x="117374" y="19631"/>
                      <a:pt x="148437" y="50694"/>
                      <a:pt x="148437" y="88986"/>
                    </a:cubicBezTo>
                    <a:cubicBezTo>
                      <a:pt x="148437" y="126250"/>
                      <a:pt x="119049" y="156637"/>
                      <a:pt x="82168" y="158253"/>
                    </a:cubicBezTo>
                    <a:lnTo>
                      <a:pt x="158752" y="158253"/>
                    </a:lnTo>
                    <a:lnTo>
                      <a:pt x="158752" y="0"/>
                    </a:lnTo>
                    <a:lnTo>
                      <a:pt x="0" y="0"/>
                    </a:lnTo>
                    <a:lnTo>
                      <a:pt x="0" y="19602"/>
                    </a:lnTo>
                    <a:lnTo>
                      <a:pt x="79082" y="19602"/>
                    </a:lnTo>
                    <a:close/>
                  </a:path>
                </a:pathLst>
              </a:custGeom>
              <a:solidFill>
                <a:srgbClr val="63B1BC"/>
              </a:solidFill>
              <a:ln w="2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26" name="Forma Livre: Forma 25">
                <a:extLst>
                  <a:ext uri="{FF2B5EF4-FFF2-40B4-BE49-F238E27FC236}">
                    <a16:creationId xmlns:a16="http://schemas.microsoft.com/office/drawing/2014/main" id="{A7F7EC9E-405F-4C78-ADC2-DD4F4B017226}"/>
                  </a:ext>
                </a:extLst>
              </p:cNvPr>
              <p:cNvSpPr/>
              <p:nvPr/>
            </p:nvSpPr>
            <p:spPr>
              <a:xfrm>
                <a:off x="392525" y="293364"/>
                <a:ext cx="148436" cy="138710"/>
              </a:xfrm>
              <a:custGeom>
                <a:avLst/>
                <a:gdLst>
                  <a:gd name="connsiteX0" fmla="*/ 0 w 148436"/>
                  <a:gd name="connsiteY0" fmla="*/ 138710 h 138710"/>
                  <a:gd name="connsiteX1" fmla="*/ 79082 w 148436"/>
                  <a:gd name="connsiteY1" fmla="*/ 138710 h 138710"/>
                  <a:gd name="connsiteX2" fmla="*/ 148437 w 148436"/>
                  <a:gd name="connsiteY2" fmla="*/ 69355 h 138710"/>
                  <a:gd name="connsiteX3" fmla="*/ 79082 w 148436"/>
                  <a:gd name="connsiteY3" fmla="*/ 0 h 138710"/>
                  <a:gd name="connsiteX4" fmla="*/ 0 w 148436"/>
                  <a:gd name="connsiteY4" fmla="*/ 0 h 138710"/>
                  <a:gd name="connsiteX5" fmla="*/ 0 w 148436"/>
                  <a:gd name="connsiteY5" fmla="*/ 138710 h 1387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8436" h="138710">
                    <a:moveTo>
                      <a:pt x="0" y="138710"/>
                    </a:moveTo>
                    <a:lnTo>
                      <a:pt x="79082" y="138710"/>
                    </a:lnTo>
                    <a:cubicBezTo>
                      <a:pt x="117374" y="138710"/>
                      <a:pt x="148437" y="107647"/>
                      <a:pt x="148437" y="69355"/>
                    </a:cubicBezTo>
                    <a:cubicBezTo>
                      <a:pt x="148437" y="31063"/>
                      <a:pt x="117374" y="0"/>
                      <a:pt x="79082" y="0"/>
                    </a:cubicBezTo>
                    <a:lnTo>
                      <a:pt x="0" y="0"/>
                    </a:lnTo>
                    <a:lnTo>
                      <a:pt x="0" y="138710"/>
                    </a:lnTo>
                    <a:close/>
                  </a:path>
                </a:pathLst>
              </a:custGeom>
              <a:solidFill>
                <a:srgbClr val="1F2A44"/>
              </a:solidFill>
              <a:ln w="2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0081762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51">
          <p15:clr>
            <a:srgbClr val="FBAE40"/>
          </p15:clr>
        </p15:guide>
        <p15:guide id="2" orient="horz" pos="4224">
          <p15:clr>
            <a:srgbClr val="FBAE40"/>
          </p15:clr>
        </p15:guide>
        <p15:guide id="3" orient="horz" pos="504">
          <p15:clr>
            <a:srgbClr val="FBAE40"/>
          </p15:clr>
        </p15:guide>
        <p15:guide id="4" orient="horz" pos="958">
          <p15:clr>
            <a:srgbClr val="FBAE40"/>
          </p15:clr>
        </p15:guide>
        <p15:guide id="5" orient="horz" pos="3929">
          <p15:clr>
            <a:srgbClr val="FBAE40"/>
          </p15:clr>
        </p15:guide>
        <p15:guide id="6" orient="horz" pos="3861">
          <p15:clr>
            <a:srgbClr val="FBAE40"/>
          </p15:clr>
        </p15:guide>
        <p15:guide id="7" pos="3908">
          <p15:clr>
            <a:srgbClr val="FBAE40"/>
          </p15:clr>
        </p15:guide>
        <p15:guide id="8" pos="3772">
          <p15:clr>
            <a:srgbClr val="FBAE40"/>
          </p15:clr>
        </p15:guide>
        <p15:guide id="9" pos="7310">
          <p15:clr>
            <a:srgbClr val="FBAE40"/>
          </p15:clr>
        </p15:guide>
        <p15:guide id="10" pos="370">
          <p15:clr>
            <a:srgbClr val="FBAE40"/>
          </p15:clr>
        </p15:guide>
        <p15:guide id="11" pos="159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Lista Cla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tângulo: Cantos Superiores Arredondados 18">
            <a:extLst>
              <a:ext uri="{FF2B5EF4-FFF2-40B4-BE49-F238E27FC236}">
                <a16:creationId xmlns:a16="http://schemas.microsoft.com/office/drawing/2014/main" id="{3C17F21B-3DA7-4D5A-A410-F1D8DC98E68D}"/>
              </a:ext>
            </a:extLst>
          </p:cNvPr>
          <p:cNvSpPr/>
          <p:nvPr userDrawn="1"/>
        </p:nvSpPr>
        <p:spPr>
          <a:xfrm rot="16200000">
            <a:off x="12764133" y="6882474"/>
            <a:ext cx="623338" cy="73429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15">
              <a:solidFill>
                <a:schemeClr val="accent1"/>
              </a:solidFill>
            </a:endParaRPr>
          </a:p>
        </p:txBody>
      </p:sp>
      <p:sp>
        <p:nvSpPr>
          <p:cNvPr id="15" name="Retângulo: Cantos Superiores Arredondados 14">
            <a:extLst>
              <a:ext uri="{FF2B5EF4-FFF2-40B4-BE49-F238E27FC236}">
                <a16:creationId xmlns:a16="http://schemas.microsoft.com/office/drawing/2014/main" id="{D6B89357-FCAD-4C13-A78E-1E475DE45692}"/>
              </a:ext>
            </a:extLst>
          </p:cNvPr>
          <p:cNvSpPr/>
          <p:nvPr userDrawn="1"/>
        </p:nvSpPr>
        <p:spPr>
          <a:xfrm rot="5400000">
            <a:off x="87402" y="-85651"/>
            <a:ext cx="1113565" cy="1288368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15">
              <a:solidFill>
                <a:schemeClr val="accent1"/>
              </a:solidFill>
            </a:endParaRPr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5"/>
          </p:nvPr>
        </p:nvSpPr>
        <p:spPr bwMode="auto">
          <a:xfrm>
            <a:off x="12804645" y="7237016"/>
            <a:ext cx="429480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992" b="1">
                <a:solidFill>
                  <a:schemeClr val="bg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dirty="0"/>
          </a:p>
        </p:txBody>
      </p:sp>
      <p:sp>
        <p:nvSpPr>
          <p:cNvPr id="20" name="Espaço Reservado para Texto 17">
            <a:extLst>
              <a:ext uri="{FF2B5EF4-FFF2-40B4-BE49-F238E27FC236}">
                <a16:creationId xmlns:a16="http://schemas.microsoft.com/office/drawing/2014/main" id="{B40EB3AF-7535-459F-93E5-10ADE94E0D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96051" y="1331915"/>
            <a:ext cx="9999256" cy="5544985"/>
          </a:xfrm>
          <a:prstGeom prst="rect">
            <a:avLst/>
          </a:prstGeom>
        </p:spPr>
        <p:txBody>
          <a:bodyPr/>
          <a:lstStyle>
            <a:lvl1pPr>
              <a:buClr>
                <a:schemeClr val="accent3"/>
              </a:buClr>
              <a:defRPr lang="pt-BR" sz="2205" dirty="0">
                <a:solidFill>
                  <a:schemeClr val="accent1"/>
                </a:solidFill>
              </a:defRPr>
            </a:lvl1pPr>
            <a:lvl2pPr>
              <a:buClr>
                <a:schemeClr val="accent3"/>
              </a:buClr>
              <a:defRPr lang="pt-BR" sz="2205" dirty="0">
                <a:solidFill>
                  <a:schemeClr val="accent1"/>
                </a:solidFill>
              </a:defRPr>
            </a:lvl2pPr>
            <a:lvl3pPr>
              <a:buClr>
                <a:schemeClr val="accent3"/>
              </a:buClr>
              <a:defRPr lang="pt-BR" sz="2205" dirty="0">
                <a:solidFill>
                  <a:schemeClr val="accent1"/>
                </a:solidFill>
              </a:defRPr>
            </a:lvl3pPr>
            <a:lvl4pPr>
              <a:buClr>
                <a:schemeClr val="accent3"/>
              </a:buClr>
              <a:defRPr lang="pt-BR" sz="2205" dirty="0">
                <a:solidFill>
                  <a:schemeClr val="accent1"/>
                </a:solidFill>
              </a:defRPr>
            </a:lvl4pPr>
            <a:lvl5pPr>
              <a:buClr>
                <a:schemeClr val="accent3"/>
              </a:buClr>
              <a:defRPr lang="pt-BR" sz="2205" dirty="0">
                <a:solidFill>
                  <a:schemeClr val="accent1"/>
                </a:solidFill>
              </a:defRPr>
            </a:lvl5pPr>
          </a:lstStyle>
          <a:p>
            <a:pPr lvl="0"/>
            <a:r>
              <a:rPr lang="pt-BR" dirty="0"/>
              <a:t>Editar estilos de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21" name="Espaço Reservado para Texto 15">
            <a:extLst>
              <a:ext uri="{FF2B5EF4-FFF2-40B4-BE49-F238E27FC236}">
                <a16:creationId xmlns:a16="http://schemas.microsoft.com/office/drawing/2014/main" id="{586BD341-CE0F-429A-A9BC-06EA628F0D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91864" y="108225"/>
            <a:ext cx="10012782" cy="765639"/>
          </a:xfrm>
          <a:prstGeom prst="rect">
            <a:avLst/>
          </a:prstGeom>
        </p:spPr>
        <p:txBody>
          <a:bodyPr anchor="ctr"/>
          <a:lstStyle>
            <a:lvl1pPr>
              <a:buNone/>
              <a:defRPr lang="pt-BR" sz="2756" b="1" dirty="0">
                <a:solidFill>
                  <a:schemeClr val="accent6"/>
                </a:solidFill>
                <a:latin typeface="+mj-lt"/>
              </a:defRPr>
            </a:lvl1pPr>
            <a:lvl2pPr>
              <a:buNone/>
              <a:defRPr sz="3000">
                <a:latin typeface="Exo 2" pitchFamily="50" charset="0"/>
              </a:defRPr>
            </a:lvl2pPr>
            <a:lvl3pPr>
              <a:buNone/>
              <a:defRPr sz="3000">
                <a:latin typeface="Exo 2" pitchFamily="50" charset="0"/>
              </a:defRPr>
            </a:lvl3pPr>
            <a:lvl4pPr>
              <a:buNone/>
              <a:defRPr sz="3000">
                <a:latin typeface="Exo 2" pitchFamily="50" charset="0"/>
              </a:defRPr>
            </a:lvl4pPr>
            <a:lvl5pPr>
              <a:buNone/>
              <a:defRPr sz="3000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grpSp>
        <p:nvGrpSpPr>
          <p:cNvPr id="8" name="Gráfico 9">
            <a:extLst>
              <a:ext uri="{FF2B5EF4-FFF2-40B4-BE49-F238E27FC236}">
                <a16:creationId xmlns:a16="http://schemas.microsoft.com/office/drawing/2014/main" id="{C595F264-9313-45A2-8FD9-4EB7F4867DD8}"/>
              </a:ext>
            </a:extLst>
          </p:cNvPr>
          <p:cNvGrpSpPr/>
          <p:nvPr userDrawn="1"/>
        </p:nvGrpSpPr>
        <p:grpSpPr>
          <a:xfrm>
            <a:off x="207654" y="314911"/>
            <a:ext cx="861301" cy="352267"/>
            <a:chOff x="234361" y="273733"/>
            <a:chExt cx="781152" cy="319503"/>
          </a:xfrm>
        </p:grpSpPr>
        <p:sp>
          <p:nvSpPr>
            <p:cNvPr id="9" name="Forma Livre: Forma 8">
              <a:extLst>
                <a:ext uri="{FF2B5EF4-FFF2-40B4-BE49-F238E27FC236}">
                  <a16:creationId xmlns:a16="http://schemas.microsoft.com/office/drawing/2014/main" id="{5499F296-2794-473C-8962-4019E3C379E2}"/>
                </a:ext>
              </a:extLst>
            </p:cNvPr>
            <p:cNvSpPr/>
            <p:nvPr/>
          </p:nvSpPr>
          <p:spPr>
            <a:xfrm>
              <a:off x="597798" y="274497"/>
              <a:ext cx="80610" cy="132156"/>
            </a:xfrm>
            <a:custGeom>
              <a:avLst/>
              <a:gdLst>
                <a:gd name="connsiteX0" fmla="*/ 0 w 80610"/>
                <a:gd name="connsiteY0" fmla="*/ 92307 h 132156"/>
                <a:gd name="connsiteX1" fmla="*/ 14518 w 80610"/>
                <a:gd name="connsiteY1" fmla="*/ 92307 h 132156"/>
                <a:gd name="connsiteX2" fmla="*/ 41672 w 80610"/>
                <a:gd name="connsiteY2" fmla="*/ 118198 h 132156"/>
                <a:gd name="connsiteX3" fmla="*/ 66269 w 80610"/>
                <a:gd name="connsiteY3" fmla="*/ 97832 h 132156"/>
                <a:gd name="connsiteX4" fmla="*/ 45521 w 80610"/>
                <a:gd name="connsiteY4" fmla="*/ 75262 h 132156"/>
                <a:gd name="connsiteX5" fmla="*/ 29182 w 80610"/>
                <a:gd name="connsiteY5" fmla="*/ 70678 h 132156"/>
                <a:gd name="connsiteX6" fmla="*/ 2204 w 80610"/>
                <a:gd name="connsiteY6" fmla="*/ 34149 h 132156"/>
                <a:gd name="connsiteX7" fmla="*/ 40202 w 80610"/>
                <a:gd name="connsiteY7" fmla="*/ 0 h 132156"/>
                <a:gd name="connsiteX8" fmla="*/ 78935 w 80610"/>
                <a:gd name="connsiteY8" fmla="*/ 34325 h 132156"/>
                <a:gd name="connsiteX9" fmla="*/ 64447 w 80610"/>
                <a:gd name="connsiteY9" fmla="*/ 34325 h 132156"/>
                <a:gd name="connsiteX10" fmla="*/ 40232 w 80610"/>
                <a:gd name="connsiteY10" fmla="*/ 13959 h 132156"/>
                <a:gd name="connsiteX11" fmla="*/ 16545 w 80610"/>
                <a:gd name="connsiteY11" fmla="*/ 34149 h 132156"/>
                <a:gd name="connsiteX12" fmla="*/ 35647 w 80610"/>
                <a:gd name="connsiteY12" fmla="*/ 56895 h 132156"/>
                <a:gd name="connsiteX13" fmla="*/ 50694 w 80610"/>
                <a:gd name="connsiteY13" fmla="*/ 61127 h 132156"/>
                <a:gd name="connsiteX14" fmla="*/ 80610 w 80610"/>
                <a:gd name="connsiteY14" fmla="*/ 97832 h 132156"/>
                <a:gd name="connsiteX15" fmla="*/ 41701 w 80610"/>
                <a:gd name="connsiteY15" fmla="*/ 132157 h 132156"/>
                <a:gd name="connsiteX16" fmla="*/ 0 w 80610"/>
                <a:gd name="connsiteY16" fmla="*/ 92307 h 132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0610" h="132156">
                  <a:moveTo>
                    <a:pt x="0" y="92307"/>
                  </a:moveTo>
                  <a:lnTo>
                    <a:pt x="14518" y="92307"/>
                  </a:lnTo>
                  <a:cubicBezTo>
                    <a:pt x="16722" y="108823"/>
                    <a:pt x="27918" y="118198"/>
                    <a:pt x="41672" y="118198"/>
                  </a:cubicBezTo>
                  <a:cubicBezTo>
                    <a:pt x="56160" y="118198"/>
                    <a:pt x="66269" y="111409"/>
                    <a:pt x="66269" y="97832"/>
                  </a:cubicBezTo>
                  <a:cubicBezTo>
                    <a:pt x="66269" y="86282"/>
                    <a:pt x="60039" y="79288"/>
                    <a:pt x="45521" y="75262"/>
                  </a:cubicBezTo>
                  <a:lnTo>
                    <a:pt x="29182" y="70678"/>
                  </a:lnTo>
                  <a:cubicBezTo>
                    <a:pt x="10080" y="65358"/>
                    <a:pt x="2204" y="49753"/>
                    <a:pt x="2204" y="34149"/>
                  </a:cubicBezTo>
                  <a:cubicBezTo>
                    <a:pt x="2204" y="12137"/>
                    <a:pt x="19631" y="0"/>
                    <a:pt x="40202" y="0"/>
                  </a:cubicBezTo>
                  <a:cubicBezTo>
                    <a:pt x="62419" y="0"/>
                    <a:pt x="76173" y="12490"/>
                    <a:pt x="78935" y="34325"/>
                  </a:cubicBezTo>
                  <a:lnTo>
                    <a:pt x="64447" y="34325"/>
                  </a:lnTo>
                  <a:cubicBezTo>
                    <a:pt x="61685" y="22041"/>
                    <a:pt x="53985" y="13959"/>
                    <a:pt x="40232" y="13959"/>
                  </a:cubicBezTo>
                  <a:cubicBezTo>
                    <a:pt x="24803" y="13959"/>
                    <a:pt x="16545" y="22952"/>
                    <a:pt x="16545" y="34149"/>
                  </a:cubicBezTo>
                  <a:cubicBezTo>
                    <a:pt x="16545" y="45904"/>
                    <a:pt x="22423" y="53251"/>
                    <a:pt x="35647" y="56895"/>
                  </a:cubicBezTo>
                  <a:lnTo>
                    <a:pt x="50694" y="61127"/>
                  </a:lnTo>
                  <a:cubicBezTo>
                    <a:pt x="68855" y="66269"/>
                    <a:pt x="80610" y="77466"/>
                    <a:pt x="80610" y="97832"/>
                  </a:cubicBezTo>
                  <a:cubicBezTo>
                    <a:pt x="80610" y="118374"/>
                    <a:pt x="67386" y="132157"/>
                    <a:pt x="41701" y="132157"/>
                  </a:cubicBezTo>
                  <a:cubicBezTo>
                    <a:pt x="18338" y="132157"/>
                    <a:pt x="1822" y="116905"/>
                    <a:pt x="0" y="92307"/>
                  </a:cubicBezTo>
                  <a:close/>
                </a:path>
              </a:pathLst>
            </a:custGeom>
            <a:solidFill>
              <a:srgbClr val="1F2A44"/>
            </a:solidFill>
            <a:ln w="2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10" name="Forma Livre: Forma 9">
              <a:extLst>
                <a:ext uri="{FF2B5EF4-FFF2-40B4-BE49-F238E27FC236}">
                  <a16:creationId xmlns:a16="http://schemas.microsoft.com/office/drawing/2014/main" id="{4B4BA2AE-1988-4DB7-9FC7-A6DD3C6BD286}"/>
                </a:ext>
              </a:extLst>
            </p:cNvPr>
            <p:cNvSpPr/>
            <p:nvPr/>
          </p:nvSpPr>
          <p:spPr>
            <a:xfrm>
              <a:off x="713761" y="276348"/>
              <a:ext cx="82961" cy="128483"/>
            </a:xfrm>
            <a:custGeom>
              <a:avLst/>
              <a:gdLst>
                <a:gd name="connsiteX0" fmla="*/ 41495 w 82961"/>
                <a:gd name="connsiteY0" fmla="*/ 78553 h 128483"/>
                <a:gd name="connsiteX1" fmla="*/ 14135 w 82961"/>
                <a:gd name="connsiteY1" fmla="*/ 78553 h 128483"/>
                <a:gd name="connsiteX2" fmla="*/ 14135 w 82961"/>
                <a:gd name="connsiteY2" fmla="*/ 128483 h 128483"/>
                <a:gd name="connsiteX3" fmla="*/ 0 w 82961"/>
                <a:gd name="connsiteY3" fmla="*/ 128483 h 128483"/>
                <a:gd name="connsiteX4" fmla="*/ 0 w 82961"/>
                <a:gd name="connsiteY4" fmla="*/ 0 h 128483"/>
                <a:gd name="connsiteX5" fmla="*/ 41495 w 82961"/>
                <a:gd name="connsiteY5" fmla="*/ 0 h 128483"/>
                <a:gd name="connsiteX6" fmla="*/ 82961 w 82961"/>
                <a:gd name="connsiteY6" fmla="*/ 39291 h 128483"/>
                <a:gd name="connsiteX7" fmla="*/ 41495 w 82961"/>
                <a:gd name="connsiteY7" fmla="*/ 78553 h 128483"/>
                <a:gd name="connsiteX8" fmla="*/ 41495 w 82961"/>
                <a:gd name="connsiteY8" fmla="*/ 13930 h 128483"/>
                <a:gd name="connsiteX9" fmla="*/ 14135 w 82961"/>
                <a:gd name="connsiteY9" fmla="*/ 13930 h 128483"/>
                <a:gd name="connsiteX10" fmla="*/ 14135 w 82961"/>
                <a:gd name="connsiteY10" fmla="*/ 64594 h 128483"/>
                <a:gd name="connsiteX11" fmla="*/ 41495 w 82961"/>
                <a:gd name="connsiteY11" fmla="*/ 64594 h 128483"/>
                <a:gd name="connsiteX12" fmla="*/ 68473 w 82961"/>
                <a:gd name="connsiteY12" fmla="*/ 39262 h 128483"/>
                <a:gd name="connsiteX13" fmla="*/ 41495 w 82961"/>
                <a:gd name="connsiteY13" fmla="*/ 13930 h 128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2961" h="128483">
                  <a:moveTo>
                    <a:pt x="41495" y="78553"/>
                  </a:moveTo>
                  <a:lnTo>
                    <a:pt x="14135" y="78553"/>
                  </a:lnTo>
                  <a:lnTo>
                    <a:pt x="14135" y="128483"/>
                  </a:lnTo>
                  <a:lnTo>
                    <a:pt x="0" y="128483"/>
                  </a:lnTo>
                  <a:lnTo>
                    <a:pt x="0" y="0"/>
                  </a:lnTo>
                  <a:lnTo>
                    <a:pt x="41495" y="0"/>
                  </a:lnTo>
                  <a:cubicBezTo>
                    <a:pt x="71236" y="0"/>
                    <a:pt x="82961" y="16516"/>
                    <a:pt x="82961" y="39291"/>
                  </a:cubicBezTo>
                  <a:cubicBezTo>
                    <a:pt x="82991" y="62008"/>
                    <a:pt x="71236" y="78553"/>
                    <a:pt x="41495" y="78553"/>
                  </a:cubicBezTo>
                  <a:close/>
                  <a:moveTo>
                    <a:pt x="41495" y="13930"/>
                  </a:moveTo>
                  <a:lnTo>
                    <a:pt x="14135" y="13930"/>
                  </a:lnTo>
                  <a:lnTo>
                    <a:pt x="14135" y="64594"/>
                  </a:lnTo>
                  <a:lnTo>
                    <a:pt x="41495" y="64594"/>
                  </a:lnTo>
                  <a:cubicBezTo>
                    <a:pt x="61303" y="64594"/>
                    <a:pt x="68473" y="53221"/>
                    <a:pt x="68473" y="39262"/>
                  </a:cubicBezTo>
                  <a:cubicBezTo>
                    <a:pt x="68473" y="25303"/>
                    <a:pt x="61332" y="13930"/>
                    <a:pt x="41495" y="13930"/>
                  </a:cubicBezTo>
                  <a:close/>
                </a:path>
              </a:pathLst>
            </a:custGeom>
            <a:solidFill>
              <a:srgbClr val="1F2A44"/>
            </a:solidFill>
            <a:ln w="2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11" name="Forma Livre: Forma 10">
              <a:extLst>
                <a:ext uri="{FF2B5EF4-FFF2-40B4-BE49-F238E27FC236}">
                  <a16:creationId xmlns:a16="http://schemas.microsoft.com/office/drawing/2014/main" id="{2C12B336-1C3F-4BE3-A567-CE1C80D0AFD1}"/>
                </a:ext>
              </a:extLst>
            </p:cNvPr>
            <p:cNvSpPr/>
            <p:nvPr/>
          </p:nvSpPr>
          <p:spPr>
            <a:xfrm>
              <a:off x="597798" y="462990"/>
              <a:ext cx="82784" cy="128483"/>
            </a:xfrm>
            <a:custGeom>
              <a:avLst/>
              <a:gdLst>
                <a:gd name="connsiteX0" fmla="*/ 0 w 82784"/>
                <a:gd name="connsiteY0" fmla="*/ 13959 h 128483"/>
                <a:gd name="connsiteX1" fmla="*/ 0 w 82784"/>
                <a:gd name="connsiteY1" fmla="*/ 0 h 128483"/>
                <a:gd name="connsiteX2" fmla="*/ 82785 w 82784"/>
                <a:gd name="connsiteY2" fmla="*/ 0 h 128483"/>
                <a:gd name="connsiteX3" fmla="*/ 82785 w 82784"/>
                <a:gd name="connsiteY3" fmla="*/ 13959 h 128483"/>
                <a:gd name="connsiteX4" fmla="*/ 48460 w 82784"/>
                <a:gd name="connsiteY4" fmla="*/ 13959 h 128483"/>
                <a:gd name="connsiteX5" fmla="*/ 48460 w 82784"/>
                <a:gd name="connsiteY5" fmla="*/ 128483 h 128483"/>
                <a:gd name="connsiteX6" fmla="*/ 34325 w 82784"/>
                <a:gd name="connsiteY6" fmla="*/ 128483 h 128483"/>
                <a:gd name="connsiteX7" fmla="*/ 34325 w 82784"/>
                <a:gd name="connsiteY7" fmla="*/ 13959 h 128483"/>
                <a:gd name="connsiteX8" fmla="*/ 0 w 82784"/>
                <a:gd name="connsiteY8" fmla="*/ 13959 h 128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2784" h="128483">
                  <a:moveTo>
                    <a:pt x="0" y="13959"/>
                  </a:moveTo>
                  <a:lnTo>
                    <a:pt x="0" y="0"/>
                  </a:lnTo>
                  <a:lnTo>
                    <a:pt x="82785" y="0"/>
                  </a:lnTo>
                  <a:lnTo>
                    <a:pt x="82785" y="13959"/>
                  </a:lnTo>
                  <a:lnTo>
                    <a:pt x="48460" y="13959"/>
                  </a:lnTo>
                  <a:lnTo>
                    <a:pt x="48460" y="128483"/>
                  </a:lnTo>
                  <a:lnTo>
                    <a:pt x="34325" y="128483"/>
                  </a:lnTo>
                  <a:lnTo>
                    <a:pt x="34325" y="13959"/>
                  </a:lnTo>
                  <a:lnTo>
                    <a:pt x="0" y="13959"/>
                  </a:lnTo>
                  <a:close/>
                </a:path>
              </a:pathLst>
            </a:custGeom>
            <a:solidFill>
              <a:srgbClr val="1F2A44"/>
            </a:solidFill>
            <a:ln w="2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12" name="Forma Livre: Forma 11">
              <a:extLst>
                <a:ext uri="{FF2B5EF4-FFF2-40B4-BE49-F238E27FC236}">
                  <a16:creationId xmlns:a16="http://schemas.microsoft.com/office/drawing/2014/main" id="{65B50BA3-88C5-4C87-97D1-43BC58104DEB}"/>
                </a:ext>
              </a:extLst>
            </p:cNvPr>
            <p:cNvSpPr/>
            <p:nvPr/>
          </p:nvSpPr>
          <p:spPr>
            <a:xfrm>
              <a:off x="716171" y="462990"/>
              <a:ext cx="73057" cy="128483"/>
            </a:xfrm>
            <a:custGeom>
              <a:avLst/>
              <a:gdLst>
                <a:gd name="connsiteX0" fmla="*/ 14135 w 73057"/>
                <a:gd name="connsiteY0" fmla="*/ 114524 h 128483"/>
                <a:gd name="connsiteX1" fmla="*/ 73058 w 73057"/>
                <a:gd name="connsiteY1" fmla="*/ 114524 h 128483"/>
                <a:gd name="connsiteX2" fmla="*/ 73058 w 73057"/>
                <a:gd name="connsiteY2" fmla="*/ 128483 h 128483"/>
                <a:gd name="connsiteX3" fmla="*/ 0 w 73057"/>
                <a:gd name="connsiteY3" fmla="*/ 128483 h 128483"/>
                <a:gd name="connsiteX4" fmla="*/ 0 w 73057"/>
                <a:gd name="connsiteY4" fmla="*/ 0 h 128483"/>
                <a:gd name="connsiteX5" fmla="*/ 73058 w 73057"/>
                <a:gd name="connsiteY5" fmla="*/ 0 h 128483"/>
                <a:gd name="connsiteX6" fmla="*/ 73058 w 73057"/>
                <a:gd name="connsiteY6" fmla="*/ 13959 h 128483"/>
                <a:gd name="connsiteX7" fmla="*/ 14135 w 73057"/>
                <a:gd name="connsiteY7" fmla="*/ 13959 h 128483"/>
                <a:gd name="connsiteX8" fmla="*/ 14135 w 73057"/>
                <a:gd name="connsiteY8" fmla="*/ 56542 h 128483"/>
                <a:gd name="connsiteX9" fmla="*/ 60215 w 73057"/>
                <a:gd name="connsiteY9" fmla="*/ 56542 h 128483"/>
                <a:gd name="connsiteX10" fmla="*/ 60215 w 73057"/>
                <a:gd name="connsiteY10" fmla="*/ 70501 h 128483"/>
                <a:gd name="connsiteX11" fmla="*/ 14135 w 73057"/>
                <a:gd name="connsiteY11" fmla="*/ 70501 h 128483"/>
                <a:gd name="connsiteX12" fmla="*/ 14135 w 73057"/>
                <a:gd name="connsiteY12" fmla="*/ 114524 h 128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3057" h="128483">
                  <a:moveTo>
                    <a:pt x="14135" y="114524"/>
                  </a:moveTo>
                  <a:lnTo>
                    <a:pt x="73058" y="114524"/>
                  </a:lnTo>
                  <a:lnTo>
                    <a:pt x="73058" y="128483"/>
                  </a:lnTo>
                  <a:lnTo>
                    <a:pt x="0" y="128483"/>
                  </a:lnTo>
                  <a:lnTo>
                    <a:pt x="0" y="0"/>
                  </a:lnTo>
                  <a:lnTo>
                    <a:pt x="73058" y="0"/>
                  </a:lnTo>
                  <a:lnTo>
                    <a:pt x="73058" y="13959"/>
                  </a:lnTo>
                  <a:lnTo>
                    <a:pt x="14135" y="13959"/>
                  </a:lnTo>
                  <a:lnTo>
                    <a:pt x="14135" y="56542"/>
                  </a:lnTo>
                  <a:lnTo>
                    <a:pt x="60215" y="56542"/>
                  </a:lnTo>
                  <a:lnTo>
                    <a:pt x="60215" y="70501"/>
                  </a:lnTo>
                  <a:lnTo>
                    <a:pt x="14135" y="70501"/>
                  </a:lnTo>
                  <a:lnTo>
                    <a:pt x="14135" y="114524"/>
                  </a:lnTo>
                  <a:close/>
                </a:path>
              </a:pathLst>
            </a:custGeom>
            <a:solidFill>
              <a:srgbClr val="1F2A44"/>
            </a:solidFill>
            <a:ln w="2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13" name="Forma Livre: Forma 12">
              <a:extLst>
                <a:ext uri="{FF2B5EF4-FFF2-40B4-BE49-F238E27FC236}">
                  <a16:creationId xmlns:a16="http://schemas.microsoft.com/office/drawing/2014/main" id="{BBA7B7EB-F50F-4D6E-9A62-6E539B879A27}"/>
                </a:ext>
              </a:extLst>
            </p:cNvPr>
            <p:cNvSpPr/>
            <p:nvPr/>
          </p:nvSpPr>
          <p:spPr>
            <a:xfrm>
              <a:off x="821702" y="461109"/>
              <a:ext cx="82785" cy="132127"/>
            </a:xfrm>
            <a:custGeom>
              <a:avLst/>
              <a:gdLst>
                <a:gd name="connsiteX0" fmla="*/ 82785 w 82785"/>
                <a:gd name="connsiteY0" fmla="*/ 39879 h 132127"/>
                <a:gd name="connsiteX1" fmla="*/ 68649 w 82785"/>
                <a:gd name="connsiteY1" fmla="*/ 39879 h 132127"/>
                <a:gd name="connsiteX2" fmla="*/ 41495 w 82785"/>
                <a:gd name="connsiteY2" fmla="*/ 13989 h 132127"/>
                <a:gd name="connsiteX3" fmla="*/ 14165 w 82785"/>
                <a:gd name="connsiteY3" fmla="*/ 43523 h 132127"/>
                <a:gd name="connsiteX4" fmla="*/ 14165 w 82785"/>
                <a:gd name="connsiteY4" fmla="*/ 88663 h 132127"/>
                <a:gd name="connsiteX5" fmla="*/ 41495 w 82785"/>
                <a:gd name="connsiteY5" fmla="*/ 118198 h 132127"/>
                <a:gd name="connsiteX6" fmla="*/ 68649 w 82785"/>
                <a:gd name="connsiteY6" fmla="*/ 92307 h 132127"/>
                <a:gd name="connsiteX7" fmla="*/ 82785 w 82785"/>
                <a:gd name="connsiteY7" fmla="*/ 92307 h 132127"/>
                <a:gd name="connsiteX8" fmla="*/ 41495 w 82785"/>
                <a:gd name="connsiteY8" fmla="*/ 132127 h 132127"/>
                <a:gd name="connsiteX9" fmla="*/ 0 w 82785"/>
                <a:gd name="connsiteY9" fmla="*/ 88633 h 132127"/>
                <a:gd name="connsiteX10" fmla="*/ 0 w 82785"/>
                <a:gd name="connsiteY10" fmla="*/ 43494 h 132127"/>
                <a:gd name="connsiteX11" fmla="*/ 41495 w 82785"/>
                <a:gd name="connsiteY11" fmla="*/ 0 h 132127"/>
                <a:gd name="connsiteX12" fmla="*/ 82785 w 82785"/>
                <a:gd name="connsiteY12" fmla="*/ 39879 h 132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2785" h="132127">
                  <a:moveTo>
                    <a:pt x="82785" y="39879"/>
                  </a:moveTo>
                  <a:lnTo>
                    <a:pt x="68649" y="39879"/>
                  </a:lnTo>
                  <a:cubicBezTo>
                    <a:pt x="67180" y="22805"/>
                    <a:pt x="55807" y="13989"/>
                    <a:pt x="41495" y="13989"/>
                  </a:cubicBezTo>
                  <a:cubicBezTo>
                    <a:pt x="26273" y="13989"/>
                    <a:pt x="14165" y="24069"/>
                    <a:pt x="14165" y="43523"/>
                  </a:cubicBezTo>
                  <a:lnTo>
                    <a:pt x="14165" y="88663"/>
                  </a:lnTo>
                  <a:cubicBezTo>
                    <a:pt x="14165" y="108118"/>
                    <a:pt x="26273" y="118198"/>
                    <a:pt x="41495" y="118198"/>
                  </a:cubicBezTo>
                  <a:cubicBezTo>
                    <a:pt x="55807" y="118198"/>
                    <a:pt x="67180" y="109381"/>
                    <a:pt x="68649" y="92307"/>
                  </a:cubicBezTo>
                  <a:lnTo>
                    <a:pt x="82785" y="92307"/>
                  </a:lnTo>
                  <a:cubicBezTo>
                    <a:pt x="81316" y="117081"/>
                    <a:pt x="64976" y="132127"/>
                    <a:pt x="41495" y="132127"/>
                  </a:cubicBezTo>
                  <a:cubicBezTo>
                    <a:pt x="16898" y="132127"/>
                    <a:pt x="0" y="115611"/>
                    <a:pt x="0" y="88633"/>
                  </a:cubicBezTo>
                  <a:lnTo>
                    <a:pt x="0" y="43494"/>
                  </a:lnTo>
                  <a:cubicBezTo>
                    <a:pt x="0" y="16516"/>
                    <a:pt x="16898" y="0"/>
                    <a:pt x="41495" y="0"/>
                  </a:cubicBezTo>
                  <a:cubicBezTo>
                    <a:pt x="64976" y="59"/>
                    <a:pt x="81316" y="15105"/>
                    <a:pt x="82785" y="39879"/>
                  </a:cubicBezTo>
                  <a:close/>
                </a:path>
              </a:pathLst>
            </a:custGeom>
            <a:solidFill>
              <a:srgbClr val="1F2A44"/>
            </a:solidFill>
            <a:ln w="2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16" name="Forma Livre: Forma 15">
              <a:extLst>
                <a:ext uri="{FF2B5EF4-FFF2-40B4-BE49-F238E27FC236}">
                  <a16:creationId xmlns:a16="http://schemas.microsoft.com/office/drawing/2014/main" id="{AB84322E-D897-46D0-83F2-66F94672F79E}"/>
                </a:ext>
              </a:extLst>
            </p:cNvPr>
            <p:cNvSpPr/>
            <p:nvPr/>
          </p:nvSpPr>
          <p:spPr>
            <a:xfrm>
              <a:off x="932552" y="462990"/>
              <a:ext cx="82961" cy="128483"/>
            </a:xfrm>
            <a:custGeom>
              <a:avLst/>
              <a:gdLst>
                <a:gd name="connsiteX0" fmla="*/ 68826 w 82961"/>
                <a:gd name="connsiteY0" fmla="*/ 0 h 128483"/>
                <a:gd name="connsiteX1" fmla="*/ 82961 w 82961"/>
                <a:gd name="connsiteY1" fmla="*/ 0 h 128483"/>
                <a:gd name="connsiteX2" fmla="*/ 82961 w 82961"/>
                <a:gd name="connsiteY2" fmla="*/ 128483 h 128483"/>
                <a:gd name="connsiteX3" fmla="*/ 68826 w 82961"/>
                <a:gd name="connsiteY3" fmla="*/ 128483 h 128483"/>
                <a:gd name="connsiteX4" fmla="*/ 68826 w 82961"/>
                <a:gd name="connsiteY4" fmla="*/ 70472 h 128483"/>
                <a:gd name="connsiteX5" fmla="*/ 14135 w 82961"/>
                <a:gd name="connsiteY5" fmla="*/ 70472 h 128483"/>
                <a:gd name="connsiteX6" fmla="*/ 14135 w 82961"/>
                <a:gd name="connsiteY6" fmla="*/ 128483 h 128483"/>
                <a:gd name="connsiteX7" fmla="*/ 0 w 82961"/>
                <a:gd name="connsiteY7" fmla="*/ 128483 h 128483"/>
                <a:gd name="connsiteX8" fmla="*/ 0 w 82961"/>
                <a:gd name="connsiteY8" fmla="*/ 0 h 128483"/>
                <a:gd name="connsiteX9" fmla="*/ 14135 w 82961"/>
                <a:gd name="connsiteY9" fmla="*/ 0 h 128483"/>
                <a:gd name="connsiteX10" fmla="*/ 14135 w 82961"/>
                <a:gd name="connsiteY10" fmla="*/ 56542 h 128483"/>
                <a:gd name="connsiteX11" fmla="*/ 68826 w 82961"/>
                <a:gd name="connsiteY11" fmla="*/ 56542 h 128483"/>
                <a:gd name="connsiteX12" fmla="*/ 68826 w 82961"/>
                <a:gd name="connsiteY12" fmla="*/ 0 h 128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2961" h="128483">
                  <a:moveTo>
                    <a:pt x="68826" y="0"/>
                  </a:moveTo>
                  <a:lnTo>
                    <a:pt x="82961" y="0"/>
                  </a:lnTo>
                  <a:lnTo>
                    <a:pt x="82961" y="128483"/>
                  </a:lnTo>
                  <a:lnTo>
                    <a:pt x="68826" y="128483"/>
                  </a:lnTo>
                  <a:lnTo>
                    <a:pt x="68826" y="70472"/>
                  </a:lnTo>
                  <a:lnTo>
                    <a:pt x="14135" y="70472"/>
                  </a:lnTo>
                  <a:lnTo>
                    <a:pt x="14135" y="128483"/>
                  </a:lnTo>
                  <a:lnTo>
                    <a:pt x="0" y="128483"/>
                  </a:lnTo>
                  <a:lnTo>
                    <a:pt x="0" y="0"/>
                  </a:lnTo>
                  <a:lnTo>
                    <a:pt x="14135" y="0"/>
                  </a:lnTo>
                  <a:lnTo>
                    <a:pt x="14135" y="56542"/>
                  </a:lnTo>
                  <a:lnTo>
                    <a:pt x="68826" y="56542"/>
                  </a:lnTo>
                  <a:lnTo>
                    <a:pt x="68826" y="0"/>
                  </a:lnTo>
                  <a:close/>
                </a:path>
              </a:pathLst>
            </a:custGeom>
            <a:solidFill>
              <a:srgbClr val="1F2A44"/>
            </a:solidFill>
            <a:ln w="29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grpSp>
          <p:nvGrpSpPr>
            <p:cNvPr id="17" name="Gráfico 9">
              <a:extLst>
                <a:ext uri="{FF2B5EF4-FFF2-40B4-BE49-F238E27FC236}">
                  <a16:creationId xmlns:a16="http://schemas.microsoft.com/office/drawing/2014/main" id="{D2FC568F-8534-4D98-A260-9E8A5240FFDF}"/>
                </a:ext>
              </a:extLst>
            </p:cNvPr>
            <p:cNvGrpSpPr/>
            <p:nvPr/>
          </p:nvGrpSpPr>
          <p:grpSpPr>
            <a:xfrm>
              <a:off x="234361" y="273733"/>
              <a:ext cx="316945" cy="317211"/>
              <a:chOff x="234361" y="273733"/>
              <a:chExt cx="316945" cy="317211"/>
            </a:xfrm>
          </p:grpSpPr>
          <p:grpSp>
            <p:nvGrpSpPr>
              <p:cNvPr id="22" name="Gráfico 9">
                <a:extLst>
                  <a:ext uri="{FF2B5EF4-FFF2-40B4-BE49-F238E27FC236}">
                    <a16:creationId xmlns:a16="http://schemas.microsoft.com/office/drawing/2014/main" id="{1F85BF51-EDC0-4235-B95B-F2B1FE53EA23}"/>
                  </a:ext>
                </a:extLst>
              </p:cNvPr>
              <p:cNvGrpSpPr/>
              <p:nvPr/>
            </p:nvGrpSpPr>
            <p:grpSpPr>
              <a:xfrm>
                <a:off x="240268" y="273762"/>
                <a:ext cx="311038" cy="317182"/>
                <a:chOff x="240268" y="273762"/>
                <a:chExt cx="311038" cy="317182"/>
              </a:xfrm>
              <a:solidFill>
                <a:srgbClr val="D0D3D4"/>
              </a:solidFill>
            </p:grpSpPr>
            <p:sp>
              <p:nvSpPr>
                <p:cNvPr id="28" name="Forma Livre: Forma 27">
                  <a:extLst>
                    <a:ext uri="{FF2B5EF4-FFF2-40B4-BE49-F238E27FC236}">
                      <a16:creationId xmlns:a16="http://schemas.microsoft.com/office/drawing/2014/main" id="{FD08682C-FFCB-491A-A609-62A699B9C037}"/>
                    </a:ext>
                  </a:extLst>
                </p:cNvPr>
                <p:cNvSpPr/>
                <p:nvPr/>
              </p:nvSpPr>
              <p:spPr>
                <a:xfrm>
                  <a:off x="313149" y="511479"/>
                  <a:ext cx="79464" cy="79464"/>
                </a:xfrm>
                <a:custGeom>
                  <a:avLst/>
                  <a:gdLst>
                    <a:gd name="connsiteX0" fmla="*/ 0 w 79464"/>
                    <a:gd name="connsiteY0" fmla="*/ 79464 h 79464"/>
                    <a:gd name="connsiteX1" fmla="*/ 10433 w 79464"/>
                    <a:gd name="connsiteY1" fmla="*/ 79464 h 79464"/>
                    <a:gd name="connsiteX2" fmla="*/ 79464 w 79464"/>
                    <a:gd name="connsiteY2" fmla="*/ 79464 h 79464"/>
                    <a:gd name="connsiteX3" fmla="*/ 79464 w 79464"/>
                    <a:gd name="connsiteY3" fmla="*/ 0 h 79464"/>
                    <a:gd name="connsiteX4" fmla="*/ 0 w 79464"/>
                    <a:gd name="connsiteY4" fmla="*/ 79464 h 794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9464" h="79464">
                      <a:moveTo>
                        <a:pt x="0" y="79464"/>
                      </a:moveTo>
                      <a:lnTo>
                        <a:pt x="10433" y="79464"/>
                      </a:lnTo>
                      <a:lnTo>
                        <a:pt x="79464" y="79464"/>
                      </a:lnTo>
                      <a:lnTo>
                        <a:pt x="79464" y="0"/>
                      </a:lnTo>
                      <a:cubicBezTo>
                        <a:pt x="79464" y="43876"/>
                        <a:pt x="43876" y="79464"/>
                        <a:pt x="0" y="79464"/>
                      </a:cubicBezTo>
                      <a:close/>
                    </a:path>
                  </a:pathLst>
                </a:custGeom>
                <a:solidFill>
                  <a:srgbClr val="D0D3D4"/>
                </a:solidFill>
                <a:ln w="292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 sz="2315"/>
                </a:p>
              </p:txBody>
            </p:sp>
            <p:sp>
              <p:nvSpPr>
                <p:cNvPr id="29" name="Forma Livre: Forma 28">
                  <a:extLst>
                    <a:ext uri="{FF2B5EF4-FFF2-40B4-BE49-F238E27FC236}">
                      <a16:creationId xmlns:a16="http://schemas.microsoft.com/office/drawing/2014/main" id="{B3E035B7-3867-4F61-A0DA-69AF5CEBD277}"/>
                    </a:ext>
                  </a:extLst>
                </p:cNvPr>
                <p:cNvSpPr/>
                <p:nvPr/>
              </p:nvSpPr>
              <p:spPr>
                <a:xfrm>
                  <a:off x="240268" y="273762"/>
                  <a:ext cx="311038" cy="317182"/>
                </a:xfrm>
                <a:custGeom>
                  <a:avLst/>
                  <a:gdLst>
                    <a:gd name="connsiteX0" fmla="*/ 0 w 311038"/>
                    <a:gd name="connsiteY0" fmla="*/ 0 h 317182"/>
                    <a:gd name="connsiteX1" fmla="*/ 0 w 311038"/>
                    <a:gd name="connsiteY1" fmla="*/ 158224 h 317182"/>
                    <a:gd name="connsiteX2" fmla="*/ 72881 w 311038"/>
                    <a:gd name="connsiteY2" fmla="*/ 158224 h 317182"/>
                    <a:gd name="connsiteX3" fmla="*/ 84989 w 311038"/>
                    <a:gd name="connsiteY3" fmla="*/ 159135 h 317182"/>
                    <a:gd name="connsiteX4" fmla="*/ 107353 w 311038"/>
                    <a:gd name="connsiteY4" fmla="*/ 166070 h 317182"/>
                    <a:gd name="connsiteX5" fmla="*/ 114112 w 311038"/>
                    <a:gd name="connsiteY5" fmla="*/ 169744 h 317182"/>
                    <a:gd name="connsiteX6" fmla="*/ 123458 w 311038"/>
                    <a:gd name="connsiteY6" fmla="*/ 176385 h 317182"/>
                    <a:gd name="connsiteX7" fmla="*/ 138798 w 311038"/>
                    <a:gd name="connsiteY7" fmla="*/ 193283 h 317182"/>
                    <a:gd name="connsiteX8" fmla="*/ 142765 w 311038"/>
                    <a:gd name="connsiteY8" fmla="*/ 199837 h 317182"/>
                    <a:gd name="connsiteX9" fmla="*/ 146115 w 311038"/>
                    <a:gd name="connsiteY9" fmla="*/ 206772 h 317182"/>
                    <a:gd name="connsiteX10" fmla="*/ 149848 w 311038"/>
                    <a:gd name="connsiteY10" fmla="*/ 217851 h 317182"/>
                    <a:gd name="connsiteX11" fmla="*/ 152346 w 311038"/>
                    <a:gd name="connsiteY11" fmla="*/ 237718 h 317182"/>
                    <a:gd name="connsiteX12" fmla="*/ 152346 w 311038"/>
                    <a:gd name="connsiteY12" fmla="*/ 187905 h 317182"/>
                    <a:gd name="connsiteX13" fmla="*/ 201805 w 311038"/>
                    <a:gd name="connsiteY13" fmla="*/ 187905 h 317182"/>
                    <a:gd name="connsiteX14" fmla="*/ 201805 w 311038"/>
                    <a:gd name="connsiteY14" fmla="*/ 317182 h 317182"/>
                    <a:gd name="connsiteX15" fmla="*/ 311039 w 311038"/>
                    <a:gd name="connsiteY15" fmla="*/ 317182 h 317182"/>
                    <a:gd name="connsiteX16" fmla="*/ 311039 w 311038"/>
                    <a:gd name="connsiteY16" fmla="*/ 317182 h 317182"/>
                    <a:gd name="connsiteX17" fmla="*/ 311039 w 311038"/>
                    <a:gd name="connsiteY17" fmla="*/ 0 h 317182"/>
                    <a:gd name="connsiteX18" fmla="*/ 0 w 311038"/>
                    <a:gd name="connsiteY18" fmla="*/ 0 h 3171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311038" h="317182">
                      <a:moveTo>
                        <a:pt x="0" y="0"/>
                      </a:moveTo>
                      <a:lnTo>
                        <a:pt x="0" y="158224"/>
                      </a:lnTo>
                      <a:lnTo>
                        <a:pt x="72881" y="158224"/>
                      </a:lnTo>
                      <a:cubicBezTo>
                        <a:pt x="76996" y="158224"/>
                        <a:pt x="81051" y="158547"/>
                        <a:pt x="84989" y="159135"/>
                      </a:cubicBezTo>
                      <a:cubicBezTo>
                        <a:pt x="92894" y="160340"/>
                        <a:pt x="100388" y="162720"/>
                        <a:pt x="107353" y="166070"/>
                      </a:cubicBezTo>
                      <a:cubicBezTo>
                        <a:pt x="109675" y="167187"/>
                        <a:pt x="111908" y="168421"/>
                        <a:pt x="114112" y="169744"/>
                      </a:cubicBezTo>
                      <a:cubicBezTo>
                        <a:pt x="117404" y="171742"/>
                        <a:pt x="120519" y="173946"/>
                        <a:pt x="123458" y="176385"/>
                      </a:cubicBezTo>
                      <a:cubicBezTo>
                        <a:pt x="129335" y="181234"/>
                        <a:pt x="134507" y="186936"/>
                        <a:pt x="138798" y="193283"/>
                      </a:cubicBezTo>
                      <a:cubicBezTo>
                        <a:pt x="140238" y="195399"/>
                        <a:pt x="141560" y="197574"/>
                        <a:pt x="142765" y="199837"/>
                      </a:cubicBezTo>
                      <a:cubicBezTo>
                        <a:pt x="143999" y="202100"/>
                        <a:pt x="145116" y="204421"/>
                        <a:pt x="146115" y="206772"/>
                      </a:cubicBezTo>
                      <a:cubicBezTo>
                        <a:pt x="147614" y="210328"/>
                        <a:pt x="148878" y="214031"/>
                        <a:pt x="149848" y="217851"/>
                      </a:cubicBezTo>
                      <a:cubicBezTo>
                        <a:pt x="151493" y="224199"/>
                        <a:pt x="152346" y="230841"/>
                        <a:pt x="152346" y="237718"/>
                      </a:cubicBezTo>
                      <a:lnTo>
                        <a:pt x="152346" y="187905"/>
                      </a:lnTo>
                      <a:lnTo>
                        <a:pt x="201805" y="187905"/>
                      </a:lnTo>
                      <a:lnTo>
                        <a:pt x="201805" y="317182"/>
                      </a:lnTo>
                      <a:lnTo>
                        <a:pt x="311039" y="317182"/>
                      </a:lnTo>
                      <a:lnTo>
                        <a:pt x="311039" y="317182"/>
                      </a:lnTo>
                      <a:lnTo>
                        <a:pt x="311039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0D3D4"/>
                </a:solidFill>
                <a:ln w="292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 sz="2315"/>
                </a:p>
              </p:txBody>
            </p:sp>
          </p:grpSp>
          <p:sp>
            <p:nvSpPr>
              <p:cNvPr id="23" name="Forma Livre: Forma 22">
                <a:extLst>
                  <a:ext uri="{FF2B5EF4-FFF2-40B4-BE49-F238E27FC236}">
                    <a16:creationId xmlns:a16="http://schemas.microsoft.com/office/drawing/2014/main" id="{AA672EDF-23A9-4F95-A9FD-7BE44B1354FF}"/>
                  </a:ext>
                </a:extLst>
              </p:cNvPr>
              <p:cNvSpPr/>
              <p:nvPr/>
            </p:nvSpPr>
            <p:spPr>
              <a:xfrm>
                <a:off x="392613" y="461667"/>
                <a:ext cx="49459" cy="129276"/>
              </a:xfrm>
              <a:custGeom>
                <a:avLst/>
                <a:gdLst>
                  <a:gd name="connsiteX0" fmla="*/ 0 w 49459"/>
                  <a:gd name="connsiteY0" fmla="*/ 0 h 129276"/>
                  <a:gd name="connsiteX1" fmla="*/ 49459 w 49459"/>
                  <a:gd name="connsiteY1" fmla="*/ 0 h 129276"/>
                  <a:gd name="connsiteX2" fmla="*/ 49459 w 49459"/>
                  <a:gd name="connsiteY2" fmla="*/ 129277 h 129276"/>
                  <a:gd name="connsiteX3" fmla="*/ 0 w 49459"/>
                  <a:gd name="connsiteY3" fmla="*/ 129277 h 129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459" h="129276">
                    <a:moveTo>
                      <a:pt x="0" y="0"/>
                    </a:moveTo>
                    <a:lnTo>
                      <a:pt x="49459" y="0"/>
                    </a:lnTo>
                    <a:lnTo>
                      <a:pt x="49459" y="129277"/>
                    </a:lnTo>
                    <a:lnTo>
                      <a:pt x="0" y="129277"/>
                    </a:lnTo>
                    <a:close/>
                  </a:path>
                </a:pathLst>
              </a:custGeom>
              <a:solidFill>
                <a:srgbClr val="1F2A44"/>
              </a:solidFill>
              <a:ln w="2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24" name="Forma Livre: Forma 23">
                <a:extLst>
                  <a:ext uri="{FF2B5EF4-FFF2-40B4-BE49-F238E27FC236}">
                    <a16:creationId xmlns:a16="http://schemas.microsoft.com/office/drawing/2014/main" id="{B940A1A8-2B44-46DE-8234-C55884126210}"/>
                  </a:ext>
                </a:extLst>
              </p:cNvPr>
              <p:cNvSpPr/>
              <p:nvPr/>
            </p:nvSpPr>
            <p:spPr>
              <a:xfrm>
                <a:off x="234390" y="273733"/>
                <a:ext cx="158134" cy="158253"/>
              </a:xfrm>
              <a:custGeom>
                <a:avLst/>
                <a:gdLst>
                  <a:gd name="connsiteX0" fmla="*/ 0 w 158134"/>
                  <a:gd name="connsiteY0" fmla="*/ 29 h 158253"/>
                  <a:gd name="connsiteX1" fmla="*/ 0 w 158134"/>
                  <a:gd name="connsiteY1" fmla="*/ 158253 h 158253"/>
                  <a:gd name="connsiteX2" fmla="*/ 79112 w 158134"/>
                  <a:gd name="connsiteY2" fmla="*/ 158253 h 158253"/>
                  <a:gd name="connsiteX3" fmla="*/ 9874 w 158134"/>
                  <a:gd name="connsiteY3" fmla="*/ 89016 h 158253"/>
                  <a:gd name="connsiteX4" fmla="*/ 79112 w 158134"/>
                  <a:gd name="connsiteY4" fmla="*/ 19602 h 158253"/>
                  <a:gd name="connsiteX5" fmla="*/ 158135 w 158134"/>
                  <a:gd name="connsiteY5" fmla="*/ 19602 h 158253"/>
                  <a:gd name="connsiteX6" fmla="*/ 158135 w 158134"/>
                  <a:gd name="connsiteY6" fmla="*/ 0 h 158253"/>
                  <a:gd name="connsiteX7" fmla="*/ 0 w 158134"/>
                  <a:gd name="connsiteY7" fmla="*/ 0 h 158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8134" h="158253">
                    <a:moveTo>
                      <a:pt x="0" y="29"/>
                    </a:moveTo>
                    <a:lnTo>
                      <a:pt x="0" y="158253"/>
                    </a:lnTo>
                    <a:lnTo>
                      <a:pt x="79112" y="158253"/>
                    </a:lnTo>
                    <a:cubicBezTo>
                      <a:pt x="40878" y="158253"/>
                      <a:pt x="9874" y="127249"/>
                      <a:pt x="9874" y="89016"/>
                    </a:cubicBezTo>
                    <a:cubicBezTo>
                      <a:pt x="9874" y="50782"/>
                      <a:pt x="40878" y="19602"/>
                      <a:pt x="79112" y="19602"/>
                    </a:cubicBezTo>
                    <a:lnTo>
                      <a:pt x="158135" y="19602"/>
                    </a:lnTo>
                    <a:lnTo>
                      <a:pt x="15813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F2A44"/>
              </a:solidFill>
              <a:ln w="2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25" name="Forma Livre: Forma 24">
                <a:extLst>
                  <a:ext uri="{FF2B5EF4-FFF2-40B4-BE49-F238E27FC236}">
                    <a16:creationId xmlns:a16="http://schemas.microsoft.com/office/drawing/2014/main" id="{13F5CA7D-5A37-4122-9179-C2C77630D1FC}"/>
                  </a:ext>
                </a:extLst>
              </p:cNvPr>
              <p:cNvSpPr/>
              <p:nvPr/>
            </p:nvSpPr>
            <p:spPr>
              <a:xfrm>
                <a:off x="234361" y="431986"/>
                <a:ext cx="158223" cy="158928"/>
              </a:xfrm>
              <a:custGeom>
                <a:avLst/>
                <a:gdLst>
                  <a:gd name="connsiteX0" fmla="*/ 151993 w 158223"/>
                  <a:gd name="connsiteY0" fmla="*/ 48549 h 158928"/>
                  <a:gd name="connsiteX1" fmla="*/ 148643 w 158223"/>
                  <a:gd name="connsiteY1" fmla="*/ 41613 h 158928"/>
                  <a:gd name="connsiteX2" fmla="*/ 144675 w 158223"/>
                  <a:gd name="connsiteY2" fmla="*/ 35060 h 158928"/>
                  <a:gd name="connsiteX3" fmla="*/ 129335 w 158223"/>
                  <a:gd name="connsiteY3" fmla="*/ 18162 h 158928"/>
                  <a:gd name="connsiteX4" fmla="*/ 119990 w 158223"/>
                  <a:gd name="connsiteY4" fmla="*/ 11520 h 158928"/>
                  <a:gd name="connsiteX5" fmla="*/ 113231 w 158223"/>
                  <a:gd name="connsiteY5" fmla="*/ 7847 h 158928"/>
                  <a:gd name="connsiteX6" fmla="*/ 90867 w 158223"/>
                  <a:gd name="connsiteY6" fmla="*/ 911 h 158928"/>
                  <a:gd name="connsiteX7" fmla="*/ 78759 w 158223"/>
                  <a:gd name="connsiteY7" fmla="*/ 0 h 158928"/>
                  <a:gd name="connsiteX8" fmla="*/ 0 w 158223"/>
                  <a:gd name="connsiteY8" fmla="*/ 0 h 158928"/>
                  <a:gd name="connsiteX9" fmla="*/ 0 w 158223"/>
                  <a:gd name="connsiteY9" fmla="*/ 158929 h 158928"/>
                  <a:gd name="connsiteX10" fmla="*/ 78759 w 158223"/>
                  <a:gd name="connsiteY10" fmla="*/ 158929 h 158928"/>
                  <a:gd name="connsiteX11" fmla="*/ 158223 w 158223"/>
                  <a:gd name="connsiteY11" fmla="*/ 79464 h 158928"/>
                  <a:gd name="connsiteX12" fmla="*/ 155725 w 158223"/>
                  <a:gd name="connsiteY12" fmla="*/ 59598 h 158928"/>
                  <a:gd name="connsiteX13" fmla="*/ 151993 w 158223"/>
                  <a:gd name="connsiteY13" fmla="*/ 48549 h 158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8223" h="158928">
                    <a:moveTo>
                      <a:pt x="151993" y="48549"/>
                    </a:moveTo>
                    <a:cubicBezTo>
                      <a:pt x="150994" y="46168"/>
                      <a:pt x="149877" y="43847"/>
                      <a:pt x="148643" y="41613"/>
                    </a:cubicBezTo>
                    <a:cubicBezTo>
                      <a:pt x="147408" y="39350"/>
                      <a:pt x="146086" y="37176"/>
                      <a:pt x="144675" y="35060"/>
                    </a:cubicBezTo>
                    <a:cubicBezTo>
                      <a:pt x="140385" y="28712"/>
                      <a:pt x="135213" y="23040"/>
                      <a:pt x="129335" y="18162"/>
                    </a:cubicBezTo>
                    <a:cubicBezTo>
                      <a:pt x="126396" y="15722"/>
                      <a:pt x="123281" y="13518"/>
                      <a:pt x="119990" y="11520"/>
                    </a:cubicBezTo>
                    <a:cubicBezTo>
                      <a:pt x="117815" y="10198"/>
                      <a:pt x="115552" y="8963"/>
                      <a:pt x="113231" y="7847"/>
                    </a:cubicBezTo>
                    <a:cubicBezTo>
                      <a:pt x="106295" y="4496"/>
                      <a:pt x="98772" y="2145"/>
                      <a:pt x="90867" y="911"/>
                    </a:cubicBezTo>
                    <a:cubicBezTo>
                      <a:pt x="86929" y="294"/>
                      <a:pt x="82873" y="0"/>
                      <a:pt x="78759" y="0"/>
                    </a:cubicBezTo>
                    <a:lnTo>
                      <a:pt x="0" y="0"/>
                    </a:lnTo>
                    <a:lnTo>
                      <a:pt x="0" y="158929"/>
                    </a:lnTo>
                    <a:lnTo>
                      <a:pt x="78759" y="158929"/>
                    </a:lnTo>
                    <a:cubicBezTo>
                      <a:pt x="122635" y="158929"/>
                      <a:pt x="158223" y="123340"/>
                      <a:pt x="158223" y="79464"/>
                    </a:cubicBezTo>
                    <a:cubicBezTo>
                      <a:pt x="158223" y="72617"/>
                      <a:pt x="157341" y="65946"/>
                      <a:pt x="155725" y="59598"/>
                    </a:cubicBezTo>
                    <a:cubicBezTo>
                      <a:pt x="154785" y="55807"/>
                      <a:pt x="153521" y="52134"/>
                      <a:pt x="151993" y="48549"/>
                    </a:cubicBezTo>
                    <a:close/>
                  </a:path>
                </a:pathLst>
              </a:custGeom>
              <a:solidFill>
                <a:srgbClr val="63B1BC"/>
              </a:solidFill>
              <a:ln w="2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26" name="Forma Livre: Forma 25">
                <a:extLst>
                  <a:ext uri="{FF2B5EF4-FFF2-40B4-BE49-F238E27FC236}">
                    <a16:creationId xmlns:a16="http://schemas.microsoft.com/office/drawing/2014/main" id="{04660103-E3E9-49B5-9AAA-BBF380B868EB}"/>
                  </a:ext>
                </a:extLst>
              </p:cNvPr>
              <p:cNvSpPr/>
              <p:nvPr/>
            </p:nvSpPr>
            <p:spPr>
              <a:xfrm>
                <a:off x="392525" y="273762"/>
                <a:ext cx="158752" cy="158253"/>
              </a:xfrm>
              <a:custGeom>
                <a:avLst/>
                <a:gdLst>
                  <a:gd name="connsiteX0" fmla="*/ 79082 w 158752"/>
                  <a:gd name="connsiteY0" fmla="*/ 19631 h 158253"/>
                  <a:gd name="connsiteX1" fmla="*/ 148437 w 158752"/>
                  <a:gd name="connsiteY1" fmla="*/ 88986 h 158253"/>
                  <a:gd name="connsiteX2" fmla="*/ 82168 w 158752"/>
                  <a:gd name="connsiteY2" fmla="*/ 158253 h 158253"/>
                  <a:gd name="connsiteX3" fmla="*/ 158752 w 158752"/>
                  <a:gd name="connsiteY3" fmla="*/ 158253 h 158253"/>
                  <a:gd name="connsiteX4" fmla="*/ 158752 w 158752"/>
                  <a:gd name="connsiteY4" fmla="*/ 0 h 158253"/>
                  <a:gd name="connsiteX5" fmla="*/ 0 w 158752"/>
                  <a:gd name="connsiteY5" fmla="*/ 0 h 158253"/>
                  <a:gd name="connsiteX6" fmla="*/ 0 w 158752"/>
                  <a:gd name="connsiteY6" fmla="*/ 19602 h 158253"/>
                  <a:gd name="connsiteX7" fmla="*/ 79082 w 158752"/>
                  <a:gd name="connsiteY7" fmla="*/ 19602 h 158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8752" h="158253">
                    <a:moveTo>
                      <a:pt x="79082" y="19631"/>
                    </a:moveTo>
                    <a:cubicBezTo>
                      <a:pt x="117374" y="19631"/>
                      <a:pt x="148437" y="50694"/>
                      <a:pt x="148437" y="88986"/>
                    </a:cubicBezTo>
                    <a:cubicBezTo>
                      <a:pt x="148437" y="126250"/>
                      <a:pt x="119049" y="156637"/>
                      <a:pt x="82168" y="158253"/>
                    </a:cubicBezTo>
                    <a:lnTo>
                      <a:pt x="158752" y="158253"/>
                    </a:lnTo>
                    <a:lnTo>
                      <a:pt x="158752" y="0"/>
                    </a:lnTo>
                    <a:lnTo>
                      <a:pt x="0" y="0"/>
                    </a:lnTo>
                    <a:lnTo>
                      <a:pt x="0" y="19602"/>
                    </a:lnTo>
                    <a:lnTo>
                      <a:pt x="79082" y="19602"/>
                    </a:lnTo>
                    <a:close/>
                  </a:path>
                </a:pathLst>
              </a:custGeom>
              <a:solidFill>
                <a:srgbClr val="63B1BC"/>
              </a:solidFill>
              <a:ln w="2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27" name="Forma Livre: Forma 26">
                <a:extLst>
                  <a:ext uri="{FF2B5EF4-FFF2-40B4-BE49-F238E27FC236}">
                    <a16:creationId xmlns:a16="http://schemas.microsoft.com/office/drawing/2014/main" id="{F704D06C-5E18-417E-B188-60682A8684F9}"/>
                  </a:ext>
                </a:extLst>
              </p:cNvPr>
              <p:cNvSpPr/>
              <p:nvPr/>
            </p:nvSpPr>
            <p:spPr>
              <a:xfrm>
                <a:off x="392525" y="293364"/>
                <a:ext cx="148436" cy="138710"/>
              </a:xfrm>
              <a:custGeom>
                <a:avLst/>
                <a:gdLst>
                  <a:gd name="connsiteX0" fmla="*/ 0 w 148436"/>
                  <a:gd name="connsiteY0" fmla="*/ 138710 h 138710"/>
                  <a:gd name="connsiteX1" fmla="*/ 79082 w 148436"/>
                  <a:gd name="connsiteY1" fmla="*/ 138710 h 138710"/>
                  <a:gd name="connsiteX2" fmla="*/ 148437 w 148436"/>
                  <a:gd name="connsiteY2" fmla="*/ 69355 h 138710"/>
                  <a:gd name="connsiteX3" fmla="*/ 79082 w 148436"/>
                  <a:gd name="connsiteY3" fmla="*/ 0 h 138710"/>
                  <a:gd name="connsiteX4" fmla="*/ 0 w 148436"/>
                  <a:gd name="connsiteY4" fmla="*/ 0 h 138710"/>
                  <a:gd name="connsiteX5" fmla="*/ 0 w 148436"/>
                  <a:gd name="connsiteY5" fmla="*/ 138710 h 1387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8436" h="138710">
                    <a:moveTo>
                      <a:pt x="0" y="138710"/>
                    </a:moveTo>
                    <a:lnTo>
                      <a:pt x="79082" y="138710"/>
                    </a:lnTo>
                    <a:cubicBezTo>
                      <a:pt x="117374" y="138710"/>
                      <a:pt x="148437" y="107647"/>
                      <a:pt x="148437" y="69355"/>
                    </a:cubicBezTo>
                    <a:cubicBezTo>
                      <a:pt x="148437" y="31063"/>
                      <a:pt x="117374" y="0"/>
                      <a:pt x="79082" y="0"/>
                    </a:cubicBezTo>
                    <a:lnTo>
                      <a:pt x="0" y="0"/>
                    </a:lnTo>
                    <a:lnTo>
                      <a:pt x="0" y="138710"/>
                    </a:lnTo>
                    <a:close/>
                  </a:path>
                </a:pathLst>
              </a:custGeom>
              <a:solidFill>
                <a:srgbClr val="1F2A44"/>
              </a:solidFill>
              <a:ln w="29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1453408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51">
          <p15:clr>
            <a:srgbClr val="FBAE40"/>
          </p15:clr>
        </p15:guide>
        <p15:guide id="2" orient="horz" pos="4224">
          <p15:clr>
            <a:srgbClr val="FBAE40"/>
          </p15:clr>
        </p15:guide>
        <p15:guide id="3" orient="horz" pos="504">
          <p15:clr>
            <a:srgbClr val="FBAE40"/>
          </p15:clr>
        </p15:guide>
        <p15:guide id="4" orient="horz" pos="958">
          <p15:clr>
            <a:srgbClr val="FBAE40"/>
          </p15:clr>
        </p15:guide>
        <p15:guide id="5" orient="horz" pos="3929">
          <p15:clr>
            <a:srgbClr val="FBAE40"/>
          </p15:clr>
        </p15:guide>
        <p15:guide id="6" orient="horz" pos="3861">
          <p15:clr>
            <a:srgbClr val="FBAE40"/>
          </p15:clr>
        </p15:guide>
        <p15:guide id="7" pos="3908">
          <p15:clr>
            <a:srgbClr val="FBAE40"/>
          </p15:clr>
        </p15:guide>
        <p15:guide id="8" pos="3772">
          <p15:clr>
            <a:srgbClr val="FBAE40"/>
          </p15:clr>
        </p15:guide>
        <p15:guide id="9" pos="7310">
          <p15:clr>
            <a:srgbClr val="FBAE40"/>
          </p15:clr>
        </p15:guide>
        <p15:guide id="10" pos="370">
          <p15:clr>
            <a:srgbClr val="FBAE40"/>
          </p15:clr>
        </p15:guide>
        <p15:guide id="11" pos="1595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2 Colunas Escur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tângulo: Cantos Superiores Arredondados 18">
            <a:extLst>
              <a:ext uri="{FF2B5EF4-FFF2-40B4-BE49-F238E27FC236}">
                <a16:creationId xmlns:a16="http://schemas.microsoft.com/office/drawing/2014/main" id="{3C17F21B-3DA7-4D5A-A410-F1D8DC98E68D}"/>
              </a:ext>
            </a:extLst>
          </p:cNvPr>
          <p:cNvSpPr/>
          <p:nvPr userDrawn="1"/>
        </p:nvSpPr>
        <p:spPr>
          <a:xfrm rot="16200000">
            <a:off x="12764133" y="6882474"/>
            <a:ext cx="623338" cy="73429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15">
              <a:solidFill>
                <a:schemeClr val="accent1"/>
              </a:solidFill>
            </a:endParaRPr>
          </a:p>
        </p:txBody>
      </p:sp>
      <p:sp>
        <p:nvSpPr>
          <p:cNvPr id="15" name="Retângulo: Cantos Superiores Arredondados 14">
            <a:extLst>
              <a:ext uri="{FF2B5EF4-FFF2-40B4-BE49-F238E27FC236}">
                <a16:creationId xmlns:a16="http://schemas.microsoft.com/office/drawing/2014/main" id="{D6B89357-FCAD-4C13-A78E-1E475DE45692}"/>
              </a:ext>
            </a:extLst>
          </p:cNvPr>
          <p:cNvSpPr/>
          <p:nvPr userDrawn="1"/>
        </p:nvSpPr>
        <p:spPr>
          <a:xfrm rot="5400000">
            <a:off x="87402" y="-85651"/>
            <a:ext cx="1113565" cy="1288368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15">
              <a:solidFill>
                <a:schemeClr val="accent1"/>
              </a:solidFill>
            </a:endParaRP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 hasCustomPrompt="1"/>
          </p:nvPr>
        </p:nvSpPr>
        <p:spPr>
          <a:xfrm>
            <a:off x="647642" y="1692535"/>
            <a:ext cx="5964144" cy="70536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pt-BR" sz="2205" dirty="0">
                <a:solidFill>
                  <a:schemeClr val="accent2"/>
                </a:solidFill>
              </a:defRPr>
            </a:lvl1pPr>
            <a:lvl2pPr marL="521454" indent="0">
              <a:buNone/>
              <a:defRPr sz="2300" b="1"/>
            </a:lvl2pPr>
            <a:lvl3pPr marL="1042907" indent="0">
              <a:buNone/>
              <a:defRPr sz="2099" b="1"/>
            </a:lvl3pPr>
            <a:lvl4pPr marL="1564360" indent="0">
              <a:buNone/>
              <a:defRPr sz="1799" b="1"/>
            </a:lvl4pPr>
            <a:lvl5pPr marL="2085814" indent="0">
              <a:buNone/>
              <a:defRPr sz="1799" b="1"/>
            </a:lvl5pPr>
            <a:lvl6pPr marL="2607268" indent="0">
              <a:buNone/>
              <a:defRPr sz="1799" b="1"/>
            </a:lvl6pPr>
            <a:lvl7pPr marL="3128721" indent="0">
              <a:buNone/>
              <a:defRPr sz="1799" b="1"/>
            </a:lvl7pPr>
            <a:lvl8pPr marL="3650175" indent="0">
              <a:buNone/>
              <a:defRPr sz="1799" b="1"/>
            </a:lvl8pPr>
            <a:lvl9pPr marL="4171628" indent="0">
              <a:buNone/>
              <a:defRPr sz="1799" b="1"/>
            </a:lvl9pPr>
          </a:lstStyle>
          <a:p>
            <a:pPr lvl="0"/>
            <a:r>
              <a:rPr lang="pt-BR" dirty="0"/>
              <a:t>Editar estilos de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47643" y="2397901"/>
            <a:ext cx="5975811" cy="4356478"/>
          </a:xfrm>
          <a:prstGeom prst="rect">
            <a:avLst/>
          </a:prstGeom>
        </p:spPr>
        <p:txBody>
          <a:bodyPr/>
          <a:lstStyle>
            <a:lvl1pPr>
              <a:buClr>
                <a:schemeClr val="accent3"/>
              </a:buClr>
              <a:defRPr lang="pt-BR" sz="1654" dirty="0">
                <a:solidFill>
                  <a:schemeClr val="bg1"/>
                </a:solidFill>
              </a:defRPr>
            </a:lvl1pPr>
            <a:lvl2pPr>
              <a:buClr>
                <a:schemeClr val="accent3"/>
              </a:buClr>
              <a:defRPr lang="pt-BR" sz="1654" dirty="0">
                <a:solidFill>
                  <a:schemeClr val="bg1"/>
                </a:solidFill>
              </a:defRPr>
            </a:lvl2pPr>
            <a:lvl3pPr>
              <a:buClr>
                <a:schemeClr val="accent3"/>
              </a:buClr>
              <a:defRPr lang="pt-BR" sz="1654" dirty="0">
                <a:solidFill>
                  <a:schemeClr val="bg1"/>
                </a:solidFill>
              </a:defRPr>
            </a:lvl3pPr>
            <a:lvl4pPr>
              <a:buClr>
                <a:schemeClr val="accent3"/>
              </a:buClr>
              <a:defRPr lang="pt-BR" sz="1654" dirty="0">
                <a:solidFill>
                  <a:schemeClr val="bg1"/>
                </a:solidFill>
              </a:defRPr>
            </a:lvl4pPr>
            <a:lvl5pPr>
              <a:buClr>
                <a:schemeClr val="accent3"/>
              </a:buClr>
              <a:defRPr lang="pt-BR" sz="1654" dirty="0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pt-BR" dirty="0"/>
              <a:t>Editar estilos de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 hasCustomPrompt="1"/>
          </p:nvPr>
        </p:nvSpPr>
        <p:spPr>
          <a:xfrm>
            <a:off x="6840502" y="1692535"/>
            <a:ext cx="5975811" cy="70536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pt-BR" sz="2205" dirty="0">
                <a:solidFill>
                  <a:schemeClr val="accent2"/>
                </a:solidFill>
              </a:defRPr>
            </a:lvl1pPr>
            <a:lvl2pPr marL="521454" indent="0">
              <a:buNone/>
              <a:defRPr sz="2300" b="1"/>
            </a:lvl2pPr>
            <a:lvl3pPr marL="1042907" indent="0">
              <a:buNone/>
              <a:defRPr sz="2099" b="1"/>
            </a:lvl3pPr>
            <a:lvl4pPr marL="1564360" indent="0">
              <a:buNone/>
              <a:defRPr sz="1799" b="1"/>
            </a:lvl4pPr>
            <a:lvl5pPr marL="2085814" indent="0">
              <a:buNone/>
              <a:defRPr sz="1799" b="1"/>
            </a:lvl5pPr>
            <a:lvl6pPr marL="2607268" indent="0">
              <a:buNone/>
              <a:defRPr sz="1799" b="1"/>
            </a:lvl6pPr>
            <a:lvl7pPr marL="3128721" indent="0">
              <a:buNone/>
              <a:defRPr sz="1799" b="1"/>
            </a:lvl7pPr>
            <a:lvl8pPr marL="3650175" indent="0">
              <a:buNone/>
              <a:defRPr sz="1799" b="1"/>
            </a:lvl8pPr>
            <a:lvl9pPr marL="4171628" indent="0">
              <a:buNone/>
              <a:defRPr sz="1799" b="1"/>
            </a:lvl9pPr>
          </a:lstStyle>
          <a:p>
            <a:pPr lvl="0"/>
            <a:r>
              <a:rPr lang="pt-BR" dirty="0"/>
              <a:t>Editar estilos de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828834" y="2397901"/>
            <a:ext cx="5941970" cy="4356478"/>
          </a:xfrm>
          <a:prstGeom prst="rect">
            <a:avLst/>
          </a:prstGeom>
        </p:spPr>
        <p:txBody>
          <a:bodyPr/>
          <a:lstStyle>
            <a:lvl1pPr>
              <a:buClr>
                <a:schemeClr val="accent3"/>
              </a:buClr>
              <a:defRPr lang="pt-BR" sz="1654" dirty="0">
                <a:solidFill>
                  <a:schemeClr val="bg1"/>
                </a:solidFill>
              </a:defRPr>
            </a:lvl1pPr>
            <a:lvl2pPr>
              <a:buClr>
                <a:schemeClr val="accent3"/>
              </a:buClr>
              <a:defRPr lang="pt-BR" sz="1654" dirty="0">
                <a:solidFill>
                  <a:schemeClr val="bg1"/>
                </a:solidFill>
              </a:defRPr>
            </a:lvl2pPr>
            <a:lvl3pPr>
              <a:buClr>
                <a:schemeClr val="accent3"/>
              </a:buClr>
              <a:defRPr lang="pt-BR" sz="1654" dirty="0">
                <a:solidFill>
                  <a:schemeClr val="bg1"/>
                </a:solidFill>
              </a:defRPr>
            </a:lvl3pPr>
            <a:lvl4pPr>
              <a:buClr>
                <a:schemeClr val="accent3"/>
              </a:buClr>
              <a:defRPr lang="pt-BR" sz="1654" dirty="0">
                <a:solidFill>
                  <a:schemeClr val="bg1"/>
                </a:solidFill>
              </a:defRPr>
            </a:lvl4pPr>
            <a:lvl5pPr>
              <a:buClr>
                <a:schemeClr val="accent3"/>
              </a:buClr>
              <a:defRPr lang="pt-BR" sz="1654" dirty="0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pt-BR" dirty="0"/>
              <a:t>Editar estilos de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12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791864" y="108225"/>
            <a:ext cx="10012782" cy="765639"/>
          </a:xfrm>
          <a:prstGeom prst="rect">
            <a:avLst/>
          </a:prstGeom>
        </p:spPr>
        <p:txBody>
          <a:bodyPr anchor="ctr"/>
          <a:lstStyle>
            <a:lvl1pPr>
              <a:buNone/>
              <a:defRPr lang="pt-BR" sz="2756" b="1" dirty="0">
                <a:solidFill>
                  <a:schemeClr val="accent3"/>
                </a:solidFill>
                <a:latin typeface="+mj-lt"/>
              </a:defRPr>
            </a:lvl1pPr>
            <a:lvl2pPr>
              <a:buNone/>
              <a:defRPr sz="3000">
                <a:latin typeface="Exo 2" pitchFamily="50" charset="0"/>
              </a:defRPr>
            </a:lvl2pPr>
            <a:lvl3pPr>
              <a:buNone/>
              <a:defRPr sz="3000">
                <a:latin typeface="Exo 2" pitchFamily="50" charset="0"/>
              </a:defRPr>
            </a:lvl3pPr>
            <a:lvl4pPr>
              <a:buNone/>
              <a:defRPr sz="3000">
                <a:latin typeface="Exo 2" pitchFamily="50" charset="0"/>
              </a:defRPr>
            </a:lvl4pPr>
            <a:lvl5pPr>
              <a:buNone/>
              <a:defRPr sz="3000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7" name="Espaço Reservado para Texto 15"/>
          <p:cNvSpPr>
            <a:spLocks noGrp="1"/>
          </p:cNvSpPr>
          <p:nvPr>
            <p:ph type="body" sz="quarter" idx="14" hasCustomPrompt="1"/>
          </p:nvPr>
        </p:nvSpPr>
        <p:spPr>
          <a:xfrm>
            <a:off x="647642" y="6876976"/>
            <a:ext cx="11749010" cy="504056"/>
          </a:xfrm>
          <a:prstGeom prst="rect">
            <a:avLst/>
          </a:prstGeom>
        </p:spPr>
        <p:txBody>
          <a:bodyPr anchor="ctr"/>
          <a:lstStyle>
            <a:lvl1pPr>
              <a:buNone/>
              <a:defRPr lang="pt-BR" sz="1654" dirty="0">
                <a:solidFill>
                  <a:schemeClr val="bg1"/>
                </a:solidFill>
              </a:defRPr>
            </a:lvl1pPr>
            <a:lvl2pPr>
              <a:buNone/>
              <a:defRPr sz="3000">
                <a:latin typeface="Exo 2" pitchFamily="50" charset="0"/>
              </a:defRPr>
            </a:lvl2pPr>
            <a:lvl3pPr>
              <a:buNone/>
              <a:defRPr sz="3000">
                <a:latin typeface="Exo 2" pitchFamily="50" charset="0"/>
              </a:defRPr>
            </a:lvl3pPr>
            <a:lvl4pPr>
              <a:buNone/>
              <a:defRPr sz="3000">
                <a:latin typeface="Exo 2" pitchFamily="50" charset="0"/>
              </a:defRPr>
            </a:lvl4pPr>
            <a:lvl5pPr>
              <a:buNone/>
              <a:defRPr sz="3000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5"/>
          </p:nvPr>
        </p:nvSpPr>
        <p:spPr bwMode="auto">
          <a:xfrm>
            <a:off x="12804645" y="7237016"/>
            <a:ext cx="429480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992" b="1">
                <a:solidFill>
                  <a:schemeClr val="accent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dirty="0"/>
          </a:p>
        </p:txBody>
      </p:sp>
      <p:pic>
        <p:nvPicPr>
          <p:cNvPr id="18" name="Imagem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466" y="166084"/>
            <a:ext cx="1190902" cy="64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938317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51">
          <p15:clr>
            <a:srgbClr val="FBAE40"/>
          </p15:clr>
        </p15:guide>
        <p15:guide id="2" orient="horz" pos="4224">
          <p15:clr>
            <a:srgbClr val="FBAE40"/>
          </p15:clr>
        </p15:guide>
        <p15:guide id="3" orient="horz" pos="504">
          <p15:clr>
            <a:srgbClr val="FBAE40"/>
          </p15:clr>
        </p15:guide>
        <p15:guide id="4" orient="horz" pos="958">
          <p15:clr>
            <a:srgbClr val="FBAE40"/>
          </p15:clr>
        </p15:guide>
        <p15:guide id="5" orient="horz" pos="3929">
          <p15:clr>
            <a:srgbClr val="FBAE40"/>
          </p15:clr>
        </p15:guide>
        <p15:guide id="6" orient="horz" pos="3861">
          <p15:clr>
            <a:srgbClr val="FBAE40"/>
          </p15:clr>
        </p15:guide>
        <p15:guide id="7" pos="3908">
          <p15:clr>
            <a:srgbClr val="FBAE40"/>
          </p15:clr>
        </p15:guide>
        <p15:guide id="8" pos="3772">
          <p15:clr>
            <a:srgbClr val="FBAE40"/>
          </p15:clr>
        </p15:guide>
        <p15:guide id="9" pos="7310">
          <p15:clr>
            <a:srgbClr val="FBAE40"/>
          </p15:clr>
        </p15:guide>
        <p15:guide id="10" pos="370">
          <p15:clr>
            <a:srgbClr val="FBAE40"/>
          </p15:clr>
        </p15:guide>
        <p15:guide id="11" pos="159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2 Colunas 2 Cla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tângulo: Cantos Superiores Arredondados 18">
            <a:extLst>
              <a:ext uri="{FF2B5EF4-FFF2-40B4-BE49-F238E27FC236}">
                <a16:creationId xmlns:a16="http://schemas.microsoft.com/office/drawing/2014/main" id="{3C17F21B-3DA7-4D5A-A410-F1D8DC98E68D}"/>
              </a:ext>
            </a:extLst>
          </p:cNvPr>
          <p:cNvSpPr/>
          <p:nvPr userDrawn="1"/>
        </p:nvSpPr>
        <p:spPr>
          <a:xfrm rot="16200000">
            <a:off x="12764133" y="6882474"/>
            <a:ext cx="623338" cy="73429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15">
              <a:solidFill>
                <a:schemeClr val="accent1"/>
              </a:solidFill>
            </a:endParaRPr>
          </a:p>
        </p:txBody>
      </p:sp>
      <p:sp>
        <p:nvSpPr>
          <p:cNvPr id="15" name="Retângulo: Cantos Superiores Arredondados 14">
            <a:extLst>
              <a:ext uri="{FF2B5EF4-FFF2-40B4-BE49-F238E27FC236}">
                <a16:creationId xmlns:a16="http://schemas.microsoft.com/office/drawing/2014/main" id="{D6B89357-FCAD-4C13-A78E-1E475DE45692}"/>
              </a:ext>
            </a:extLst>
          </p:cNvPr>
          <p:cNvSpPr/>
          <p:nvPr userDrawn="1"/>
        </p:nvSpPr>
        <p:spPr>
          <a:xfrm rot="5400000">
            <a:off x="87402" y="-85651"/>
            <a:ext cx="1113565" cy="1288368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15">
              <a:solidFill>
                <a:schemeClr val="accent1"/>
              </a:solidFill>
            </a:endParaRP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 hasCustomPrompt="1"/>
          </p:nvPr>
        </p:nvSpPr>
        <p:spPr>
          <a:xfrm>
            <a:off x="647642" y="1692535"/>
            <a:ext cx="5964144" cy="70536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pt-BR" sz="2205" dirty="0">
                <a:solidFill>
                  <a:schemeClr val="accent1"/>
                </a:solidFill>
              </a:defRPr>
            </a:lvl1pPr>
            <a:lvl2pPr marL="521454" indent="0">
              <a:buNone/>
              <a:defRPr sz="2300" b="1"/>
            </a:lvl2pPr>
            <a:lvl3pPr marL="1042907" indent="0">
              <a:buNone/>
              <a:defRPr sz="2099" b="1"/>
            </a:lvl3pPr>
            <a:lvl4pPr marL="1564360" indent="0">
              <a:buNone/>
              <a:defRPr sz="1799" b="1"/>
            </a:lvl4pPr>
            <a:lvl5pPr marL="2085814" indent="0">
              <a:buNone/>
              <a:defRPr sz="1799" b="1"/>
            </a:lvl5pPr>
            <a:lvl6pPr marL="2607268" indent="0">
              <a:buNone/>
              <a:defRPr sz="1799" b="1"/>
            </a:lvl6pPr>
            <a:lvl7pPr marL="3128721" indent="0">
              <a:buNone/>
              <a:defRPr sz="1799" b="1"/>
            </a:lvl7pPr>
            <a:lvl8pPr marL="3650175" indent="0">
              <a:buNone/>
              <a:defRPr sz="1799" b="1"/>
            </a:lvl8pPr>
            <a:lvl9pPr marL="4171628" indent="0">
              <a:buNone/>
              <a:defRPr sz="1799" b="1"/>
            </a:lvl9pPr>
          </a:lstStyle>
          <a:p>
            <a:pPr lvl="0"/>
            <a:r>
              <a:rPr lang="pt-BR" dirty="0"/>
              <a:t>Editar estilos de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47643" y="2397901"/>
            <a:ext cx="5975811" cy="4356478"/>
          </a:xfrm>
          <a:prstGeom prst="rect">
            <a:avLst/>
          </a:prstGeom>
        </p:spPr>
        <p:txBody>
          <a:bodyPr/>
          <a:lstStyle>
            <a:lvl1pPr>
              <a:buClr>
                <a:schemeClr val="accent3"/>
              </a:buClr>
              <a:defRPr lang="pt-BR" sz="1654" dirty="0">
                <a:solidFill>
                  <a:schemeClr val="accent1"/>
                </a:solidFill>
              </a:defRPr>
            </a:lvl1pPr>
            <a:lvl2pPr>
              <a:buClr>
                <a:schemeClr val="accent3"/>
              </a:buClr>
              <a:defRPr lang="pt-BR" sz="1654" dirty="0">
                <a:solidFill>
                  <a:schemeClr val="accent1"/>
                </a:solidFill>
              </a:defRPr>
            </a:lvl2pPr>
            <a:lvl3pPr>
              <a:buClr>
                <a:schemeClr val="accent3"/>
              </a:buClr>
              <a:defRPr lang="pt-BR" sz="1654" dirty="0">
                <a:solidFill>
                  <a:schemeClr val="accent1"/>
                </a:solidFill>
              </a:defRPr>
            </a:lvl3pPr>
            <a:lvl4pPr>
              <a:buClr>
                <a:schemeClr val="accent3"/>
              </a:buClr>
              <a:defRPr lang="pt-BR" sz="1654" dirty="0">
                <a:solidFill>
                  <a:schemeClr val="accent1"/>
                </a:solidFill>
              </a:defRPr>
            </a:lvl4pPr>
            <a:lvl5pPr>
              <a:buClr>
                <a:schemeClr val="accent3"/>
              </a:buClr>
              <a:defRPr lang="pt-BR" sz="1654" dirty="0">
                <a:solidFill>
                  <a:schemeClr val="accent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pt-BR" dirty="0"/>
              <a:t>Editar estilos de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 hasCustomPrompt="1"/>
          </p:nvPr>
        </p:nvSpPr>
        <p:spPr>
          <a:xfrm>
            <a:off x="6840501" y="1692535"/>
            <a:ext cx="5964144" cy="70536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pt-BR" sz="2205" dirty="0">
                <a:solidFill>
                  <a:schemeClr val="accent1"/>
                </a:solidFill>
              </a:defRPr>
            </a:lvl1pPr>
            <a:lvl2pPr marL="521454" indent="0">
              <a:buNone/>
              <a:defRPr sz="2300" b="1"/>
            </a:lvl2pPr>
            <a:lvl3pPr marL="1042907" indent="0">
              <a:buNone/>
              <a:defRPr sz="2099" b="1"/>
            </a:lvl3pPr>
            <a:lvl4pPr marL="1564360" indent="0">
              <a:buNone/>
              <a:defRPr sz="1799" b="1"/>
            </a:lvl4pPr>
            <a:lvl5pPr marL="2085814" indent="0">
              <a:buNone/>
              <a:defRPr sz="1799" b="1"/>
            </a:lvl5pPr>
            <a:lvl6pPr marL="2607268" indent="0">
              <a:buNone/>
              <a:defRPr sz="1799" b="1"/>
            </a:lvl6pPr>
            <a:lvl7pPr marL="3128721" indent="0">
              <a:buNone/>
              <a:defRPr sz="1799" b="1"/>
            </a:lvl7pPr>
            <a:lvl8pPr marL="3650175" indent="0">
              <a:buNone/>
              <a:defRPr sz="1799" b="1"/>
            </a:lvl8pPr>
            <a:lvl9pPr marL="4171628" indent="0">
              <a:buNone/>
              <a:defRPr sz="1799" b="1"/>
            </a:lvl9pPr>
          </a:lstStyle>
          <a:p>
            <a:pPr lvl="0"/>
            <a:r>
              <a:rPr lang="pt-BR" dirty="0"/>
              <a:t>Editar estilos de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828834" y="2397901"/>
            <a:ext cx="5941970" cy="4356478"/>
          </a:xfrm>
          <a:prstGeom prst="rect">
            <a:avLst/>
          </a:prstGeom>
        </p:spPr>
        <p:txBody>
          <a:bodyPr/>
          <a:lstStyle>
            <a:lvl1pPr>
              <a:buClr>
                <a:schemeClr val="accent3"/>
              </a:buClr>
              <a:defRPr lang="pt-BR" sz="1654" dirty="0">
                <a:solidFill>
                  <a:schemeClr val="accent1"/>
                </a:solidFill>
              </a:defRPr>
            </a:lvl1pPr>
            <a:lvl2pPr>
              <a:buClr>
                <a:schemeClr val="accent3"/>
              </a:buClr>
              <a:defRPr lang="pt-BR" sz="1654" dirty="0">
                <a:solidFill>
                  <a:schemeClr val="accent1"/>
                </a:solidFill>
              </a:defRPr>
            </a:lvl2pPr>
            <a:lvl3pPr>
              <a:buClr>
                <a:schemeClr val="accent3"/>
              </a:buClr>
              <a:defRPr lang="pt-BR" sz="1654" dirty="0">
                <a:solidFill>
                  <a:schemeClr val="accent1"/>
                </a:solidFill>
              </a:defRPr>
            </a:lvl3pPr>
            <a:lvl4pPr>
              <a:buClr>
                <a:schemeClr val="accent3"/>
              </a:buClr>
              <a:defRPr lang="pt-BR" sz="1654" dirty="0">
                <a:solidFill>
                  <a:schemeClr val="accent1"/>
                </a:solidFill>
              </a:defRPr>
            </a:lvl4pPr>
            <a:lvl5pPr>
              <a:buClr>
                <a:schemeClr val="accent3"/>
              </a:buClr>
              <a:defRPr lang="pt-BR" sz="1654" dirty="0">
                <a:solidFill>
                  <a:schemeClr val="accent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pt-BR" dirty="0"/>
              <a:t>Editar estilos de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12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791864" y="108225"/>
            <a:ext cx="10175708" cy="765639"/>
          </a:xfrm>
          <a:prstGeom prst="rect">
            <a:avLst/>
          </a:prstGeom>
        </p:spPr>
        <p:txBody>
          <a:bodyPr anchor="ctr"/>
          <a:lstStyle>
            <a:lvl1pPr>
              <a:buNone/>
              <a:defRPr lang="pt-BR" sz="2756" b="1" dirty="0">
                <a:solidFill>
                  <a:schemeClr val="accent6"/>
                </a:solidFill>
                <a:latin typeface="+mj-lt"/>
              </a:defRPr>
            </a:lvl1pPr>
            <a:lvl2pPr>
              <a:buNone/>
              <a:defRPr sz="3000">
                <a:latin typeface="Exo 2" pitchFamily="50" charset="0"/>
              </a:defRPr>
            </a:lvl2pPr>
            <a:lvl3pPr>
              <a:buNone/>
              <a:defRPr sz="3000">
                <a:latin typeface="Exo 2" pitchFamily="50" charset="0"/>
              </a:defRPr>
            </a:lvl3pPr>
            <a:lvl4pPr>
              <a:buNone/>
              <a:defRPr sz="3000">
                <a:latin typeface="Exo 2" pitchFamily="50" charset="0"/>
              </a:defRPr>
            </a:lvl4pPr>
            <a:lvl5pPr>
              <a:buNone/>
              <a:defRPr sz="3000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7" name="Espaço Reservado para Texto 15"/>
          <p:cNvSpPr>
            <a:spLocks noGrp="1"/>
          </p:cNvSpPr>
          <p:nvPr>
            <p:ph type="body" sz="quarter" idx="14" hasCustomPrompt="1"/>
          </p:nvPr>
        </p:nvSpPr>
        <p:spPr>
          <a:xfrm>
            <a:off x="647642" y="6876976"/>
            <a:ext cx="11749010" cy="504056"/>
          </a:xfrm>
          <a:prstGeom prst="rect">
            <a:avLst/>
          </a:prstGeom>
        </p:spPr>
        <p:txBody>
          <a:bodyPr anchor="ctr"/>
          <a:lstStyle>
            <a:lvl1pPr>
              <a:buNone/>
              <a:defRPr lang="pt-BR" sz="1654" dirty="0">
                <a:solidFill>
                  <a:schemeClr val="accent1"/>
                </a:solidFill>
              </a:defRPr>
            </a:lvl1pPr>
            <a:lvl2pPr>
              <a:buNone/>
              <a:defRPr sz="3000">
                <a:latin typeface="Exo 2" pitchFamily="50" charset="0"/>
              </a:defRPr>
            </a:lvl2pPr>
            <a:lvl3pPr>
              <a:buNone/>
              <a:defRPr sz="3000">
                <a:latin typeface="Exo 2" pitchFamily="50" charset="0"/>
              </a:defRPr>
            </a:lvl3pPr>
            <a:lvl4pPr>
              <a:buNone/>
              <a:defRPr sz="3000">
                <a:latin typeface="Exo 2" pitchFamily="50" charset="0"/>
              </a:defRPr>
            </a:lvl4pPr>
            <a:lvl5pPr>
              <a:buNone/>
              <a:defRPr sz="3000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5"/>
          </p:nvPr>
        </p:nvSpPr>
        <p:spPr bwMode="auto">
          <a:xfrm>
            <a:off x="12804645" y="7237016"/>
            <a:ext cx="429480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992" b="1">
                <a:solidFill>
                  <a:schemeClr val="bg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dirty="0"/>
          </a:p>
        </p:txBody>
      </p:sp>
      <p:pic>
        <p:nvPicPr>
          <p:cNvPr id="18" name="Imagem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466" y="166084"/>
            <a:ext cx="1190902" cy="64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739524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51">
          <p15:clr>
            <a:srgbClr val="FBAE40"/>
          </p15:clr>
        </p15:guide>
        <p15:guide id="2" orient="horz" pos="4224">
          <p15:clr>
            <a:srgbClr val="FBAE40"/>
          </p15:clr>
        </p15:guide>
        <p15:guide id="3" orient="horz" pos="504">
          <p15:clr>
            <a:srgbClr val="FBAE40"/>
          </p15:clr>
        </p15:guide>
        <p15:guide id="4" orient="horz" pos="958">
          <p15:clr>
            <a:srgbClr val="FBAE40"/>
          </p15:clr>
        </p15:guide>
        <p15:guide id="5" orient="horz" pos="3929">
          <p15:clr>
            <a:srgbClr val="FBAE40"/>
          </p15:clr>
        </p15:guide>
        <p15:guide id="6" orient="horz" pos="3861">
          <p15:clr>
            <a:srgbClr val="FBAE40"/>
          </p15:clr>
        </p15:guide>
        <p15:guide id="7" pos="3908">
          <p15:clr>
            <a:srgbClr val="FBAE40"/>
          </p15:clr>
        </p15:guide>
        <p15:guide id="8" pos="3772">
          <p15:clr>
            <a:srgbClr val="FBAE40"/>
          </p15:clr>
        </p15:guide>
        <p15:guide id="9" pos="7310">
          <p15:clr>
            <a:srgbClr val="FBAE40"/>
          </p15:clr>
        </p15:guide>
        <p15:guide id="10" pos="370">
          <p15:clr>
            <a:srgbClr val="FBAE40"/>
          </p15:clr>
        </p15:guide>
        <p15:guide id="11" pos="159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 V1 Escur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áfico 4">
            <a:extLst>
              <a:ext uri="{FF2B5EF4-FFF2-40B4-BE49-F238E27FC236}">
                <a16:creationId xmlns:a16="http://schemas.microsoft.com/office/drawing/2014/main" id="{701D7AFC-7105-4A33-9F02-C9158F448CF1}"/>
              </a:ext>
            </a:extLst>
          </p:cNvPr>
          <p:cNvGrpSpPr/>
          <p:nvPr/>
        </p:nvGrpSpPr>
        <p:grpSpPr>
          <a:xfrm>
            <a:off x="1" y="1"/>
            <a:ext cx="13442949" cy="7561262"/>
            <a:chOff x="0" y="0"/>
            <a:chExt cx="12191999" cy="6857999"/>
          </a:xfrm>
        </p:grpSpPr>
        <p:grpSp>
          <p:nvGrpSpPr>
            <p:cNvPr id="10" name="Gráfico 4">
              <a:extLst>
                <a:ext uri="{FF2B5EF4-FFF2-40B4-BE49-F238E27FC236}">
                  <a16:creationId xmlns:a16="http://schemas.microsoft.com/office/drawing/2014/main" id="{601EAF6D-21CC-4E38-8BD3-702B9817F6A9}"/>
                </a:ext>
              </a:extLst>
            </p:cNvPr>
            <p:cNvGrpSpPr/>
            <p:nvPr/>
          </p:nvGrpSpPr>
          <p:grpSpPr>
            <a:xfrm>
              <a:off x="8898064" y="0"/>
              <a:ext cx="3293935" cy="4032630"/>
              <a:chOff x="8898064" y="0"/>
              <a:chExt cx="3293935" cy="4032630"/>
            </a:xfrm>
          </p:grpSpPr>
          <p:sp>
            <p:nvSpPr>
              <p:cNvPr id="14" name="Forma Livre: Forma 13">
                <a:extLst>
                  <a:ext uri="{FF2B5EF4-FFF2-40B4-BE49-F238E27FC236}">
                    <a16:creationId xmlns:a16="http://schemas.microsoft.com/office/drawing/2014/main" id="{3076B9B1-1FA1-4C8E-8CEB-E5846716CE93}"/>
                  </a:ext>
                </a:extLst>
              </p:cNvPr>
              <p:cNvSpPr/>
              <p:nvPr/>
            </p:nvSpPr>
            <p:spPr>
              <a:xfrm>
                <a:off x="8898064" y="0"/>
                <a:ext cx="2179192" cy="357060"/>
              </a:xfrm>
              <a:custGeom>
                <a:avLst/>
                <a:gdLst>
                  <a:gd name="connsiteX0" fmla="*/ 1089787 w 2179192"/>
                  <a:gd name="connsiteY0" fmla="*/ 357061 h 357060"/>
                  <a:gd name="connsiteX1" fmla="*/ 1549654 w 2179192"/>
                  <a:gd name="connsiteY1" fmla="*/ 299085 h 357060"/>
                  <a:gd name="connsiteX2" fmla="*/ 1806130 w 2179192"/>
                  <a:gd name="connsiteY2" fmla="*/ 212408 h 357060"/>
                  <a:gd name="connsiteX3" fmla="*/ 1967040 w 2179192"/>
                  <a:gd name="connsiteY3" fmla="*/ 134874 h 357060"/>
                  <a:gd name="connsiteX4" fmla="*/ 2118804 w 2179192"/>
                  <a:gd name="connsiteY4" fmla="*/ 42672 h 357060"/>
                  <a:gd name="connsiteX5" fmla="*/ 2179193 w 2179192"/>
                  <a:gd name="connsiteY5" fmla="*/ 0 h 357060"/>
                  <a:gd name="connsiteX6" fmla="*/ 0 w 2179192"/>
                  <a:gd name="connsiteY6" fmla="*/ 0 h 357060"/>
                  <a:gd name="connsiteX7" fmla="*/ 1089406 w 2179192"/>
                  <a:gd name="connsiteY7" fmla="*/ 357061 h 357060"/>
                  <a:gd name="connsiteX8" fmla="*/ 1089787 w 2179192"/>
                  <a:gd name="connsiteY8" fmla="*/ 357061 h 357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79192" h="357060">
                    <a:moveTo>
                      <a:pt x="1089787" y="357061"/>
                    </a:moveTo>
                    <a:cubicBezTo>
                      <a:pt x="1248601" y="357061"/>
                      <a:pt x="1402652" y="336931"/>
                      <a:pt x="1549654" y="299085"/>
                    </a:cubicBezTo>
                    <a:cubicBezTo>
                      <a:pt x="1637855" y="276352"/>
                      <a:pt x="1723580" y="247333"/>
                      <a:pt x="1806130" y="212408"/>
                    </a:cubicBezTo>
                    <a:cubicBezTo>
                      <a:pt x="1861185" y="189103"/>
                      <a:pt x="1914906" y="163259"/>
                      <a:pt x="1967040" y="134874"/>
                    </a:cubicBezTo>
                    <a:cubicBezTo>
                      <a:pt x="2019237" y="106553"/>
                      <a:pt x="2069846" y="75756"/>
                      <a:pt x="2118804" y="42672"/>
                    </a:cubicBezTo>
                    <a:cubicBezTo>
                      <a:pt x="2139252" y="28893"/>
                      <a:pt x="2159381" y="14605"/>
                      <a:pt x="2179193" y="0"/>
                    </a:cubicBezTo>
                    <a:lnTo>
                      <a:pt x="0" y="0"/>
                    </a:lnTo>
                    <a:cubicBezTo>
                      <a:pt x="305054" y="224346"/>
                      <a:pt x="681736" y="356997"/>
                      <a:pt x="1089406" y="357061"/>
                    </a:cubicBezTo>
                    <a:lnTo>
                      <a:pt x="1089787" y="357061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15" name="Forma Livre: Forma 14">
                <a:extLst>
                  <a:ext uri="{FF2B5EF4-FFF2-40B4-BE49-F238E27FC236}">
                    <a16:creationId xmlns:a16="http://schemas.microsoft.com/office/drawing/2014/main" id="{4E844278-FBEE-4B45-B12D-5AD688CA9907}"/>
                  </a:ext>
                </a:extLst>
              </p:cNvPr>
              <p:cNvSpPr/>
              <p:nvPr/>
            </p:nvSpPr>
            <p:spPr>
              <a:xfrm>
                <a:off x="11828526" y="2262187"/>
                <a:ext cx="363473" cy="1770443"/>
              </a:xfrm>
              <a:custGeom>
                <a:avLst/>
                <a:gdLst>
                  <a:gd name="connsiteX0" fmla="*/ 0 w 363473"/>
                  <a:gd name="connsiteY0" fmla="*/ 0 h 1770443"/>
                  <a:gd name="connsiteX1" fmla="*/ 0 w 363473"/>
                  <a:gd name="connsiteY1" fmla="*/ 1770444 h 1770443"/>
                  <a:gd name="connsiteX2" fmla="*/ 363474 w 363473"/>
                  <a:gd name="connsiteY2" fmla="*/ 1770444 h 1770443"/>
                  <a:gd name="connsiteX3" fmla="*/ 363474 w 363473"/>
                  <a:gd name="connsiteY3" fmla="*/ 944626 h 1770443"/>
                  <a:gd name="connsiteX4" fmla="*/ 0 w 363473"/>
                  <a:gd name="connsiteY4" fmla="*/ 0 h 1770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3473" h="1770443">
                    <a:moveTo>
                      <a:pt x="0" y="0"/>
                    </a:moveTo>
                    <a:lnTo>
                      <a:pt x="0" y="1770444"/>
                    </a:lnTo>
                    <a:lnTo>
                      <a:pt x="363474" y="1770444"/>
                    </a:lnTo>
                    <a:lnTo>
                      <a:pt x="363474" y="944626"/>
                    </a:lnTo>
                    <a:cubicBezTo>
                      <a:pt x="150114" y="685292"/>
                      <a:pt x="16573" y="357949"/>
                      <a:pt x="0" y="0"/>
                    </a:cubicBezTo>
                    <a:close/>
                  </a:path>
                </a:pathLst>
              </a:custGeom>
              <a:solidFill>
                <a:srgbClr val="63B1BC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17" name="Forma Livre: Forma 16">
                <a:extLst>
                  <a:ext uri="{FF2B5EF4-FFF2-40B4-BE49-F238E27FC236}">
                    <a16:creationId xmlns:a16="http://schemas.microsoft.com/office/drawing/2014/main" id="{53209783-7B95-4D0E-B9D7-2A831B63D022}"/>
                  </a:ext>
                </a:extLst>
              </p:cNvPr>
              <p:cNvSpPr/>
              <p:nvPr/>
            </p:nvSpPr>
            <p:spPr>
              <a:xfrm>
                <a:off x="11826747" y="354965"/>
                <a:ext cx="365252" cy="2851594"/>
              </a:xfrm>
              <a:custGeom>
                <a:avLst/>
                <a:gdLst>
                  <a:gd name="connsiteX0" fmla="*/ 365252 w 365252"/>
                  <a:gd name="connsiteY0" fmla="*/ 2851595 h 2851594"/>
                  <a:gd name="connsiteX1" fmla="*/ 365252 w 365252"/>
                  <a:gd name="connsiteY1" fmla="*/ 0 h 2851594"/>
                  <a:gd name="connsiteX2" fmla="*/ 0 w 365252"/>
                  <a:gd name="connsiteY2" fmla="*/ 0 h 2851594"/>
                  <a:gd name="connsiteX3" fmla="*/ 0 w 365252"/>
                  <a:gd name="connsiteY3" fmla="*/ 1831912 h 2851594"/>
                  <a:gd name="connsiteX4" fmla="*/ 1842 w 365252"/>
                  <a:gd name="connsiteY4" fmla="*/ 1907286 h 2851594"/>
                  <a:gd name="connsiteX5" fmla="*/ 1842 w 365252"/>
                  <a:gd name="connsiteY5" fmla="*/ 1903603 h 2851594"/>
                  <a:gd name="connsiteX6" fmla="*/ 365252 w 365252"/>
                  <a:gd name="connsiteY6" fmla="*/ 2851595 h 2851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5252" h="2851594">
                    <a:moveTo>
                      <a:pt x="365252" y="2851595"/>
                    </a:moveTo>
                    <a:lnTo>
                      <a:pt x="365252" y="0"/>
                    </a:lnTo>
                    <a:lnTo>
                      <a:pt x="0" y="0"/>
                    </a:lnTo>
                    <a:lnTo>
                      <a:pt x="0" y="1831912"/>
                    </a:lnTo>
                    <a:cubicBezTo>
                      <a:pt x="0" y="1857185"/>
                      <a:pt x="635" y="1882330"/>
                      <a:pt x="1842" y="1907286"/>
                    </a:cubicBezTo>
                    <a:lnTo>
                      <a:pt x="1842" y="1903603"/>
                    </a:lnTo>
                    <a:cubicBezTo>
                      <a:pt x="17590" y="2262823"/>
                      <a:pt x="151321" y="2591435"/>
                      <a:pt x="365252" y="2851595"/>
                    </a:cubicBezTo>
                    <a:close/>
                  </a:path>
                </a:pathLst>
              </a:custGeom>
              <a:solidFill>
                <a:schemeClr val="accent1">
                  <a:lumMod val="90000"/>
                  <a:lumOff val="1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 dirty="0"/>
              </a:p>
            </p:txBody>
          </p:sp>
          <p:sp>
            <p:nvSpPr>
              <p:cNvPr id="18" name="Forma Livre: Forma 17">
                <a:extLst>
                  <a:ext uri="{FF2B5EF4-FFF2-40B4-BE49-F238E27FC236}">
                    <a16:creationId xmlns:a16="http://schemas.microsoft.com/office/drawing/2014/main" id="{110982F6-C9ED-4534-B624-4881C5FAEC9D}"/>
                  </a:ext>
                </a:extLst>
              </p:cNvPr>
              <p:cNvSpPr/>
              <p:nvPr/>
            </p:nvSpPr>
            <p:spPr>
              <a:xfrm>
                <a:off x="11828526" y="2258504"/>
                <a:ext cx="363473" cy="948245"/>
              </a:xfrm>
              <a:custGeom>
                <a:avLst/>
                <a:gdLst>
                  <a:gd name="connsiteX0" fmla="*/ 363474 w 363473"/>
                  <a:gd name="connsiteY0" fmla="*/ 948055 h 948245"/>
                  <a:gd name="connsiteX1" fmla="*/ 0 w 363473"/>
                  <a:gd name="connsiteY1" fmla="*/ 0 h 948245"/>
                  <a:gd name="connsiteX2" fmla="*/ 0 w 363473"/>
                  <a:gd name="connsiteY2" fmla="*/ 3683 h 948245"/>
                  <a:gd name="connsiteX3" fmla="*/ 363474 w 363473"/>
                  <a:gd name="connsiteY3" fmla="*/ 948245 h 948245"/>
                  <a:gd name="connsiteX4" fmla="*/ 363474 w 363473"/>
                  <a:gd name="connsiteY4" fmla="*/ 948055 h 948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3473" h="948245">
                    <a:moveTo>
                      <a:pt x="363474" y="948055"/>
                    </a:moveTo>
                    <a:cubicBezTo>
                      <a:pt x="149543" y="687895"/>
                      <a:pt x="15811" y="359283"/>
                      <a:pt x="0" y="0"/>
                    </a:cubicBezTo>
                    <a:lnTo>
                      <a:pt x="0" y="3683"/>
                    </a:lnTo>
                    <a:cubicBezTo>
                      <a:pt x="16510" y="361632"/>
                      <a:pt x="150114" y="688975"/>
                      <a:pt x="363474" y="948245"/>
                    </a:cubicBezTo>
                    <a:lnTo>
                      <a:pt x="363474" y="948055"/>
                    </a:lnTo>
                    <a:close/>
                  </a:path>
                </a:pathLst>
              </a:custGeom>
              <a:solidFill>
                <a:srgbClr val="1F2A44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</p:grpSp>
        <p:grpSp>
          <p:nvGrpSpPr>
            <p:cNvPr id="19" name="Gráfico 4">
              <a:extLst>
                <a:ext uri="{FF2B5EF4-FFF2-40B4-BE49-F238E27FC236}">
                  <a16:creationId xmlns:a16="http://schemas.microsoft.com/office/drawing/2014/main" id="{FE8057C9-FC39-47A8-AB80-9BBECD81C8A9}"/>
                </a:ext>
              </a:extLst>
            </p:cNvPr>
            <p:cNvGrpSpPr/>
            <p:nvPr/>
          </p:nvGrpSpPr>
          <p:grpSpPr>
            <a:xfrm>
              <a:off x="0" y="2825369"/>
              <a:ext cx="3293934" cy="4032630"/>
              <a:chOff x="0" y="2825369"/>
              <a:chExt cx="3293934" cy="4032630"/>
            </a:xfrm>
          </p:grpSpPr>
          <p:sp>
            <p:nvSpPr>
              <p:cNvPr id="21" name="Forma Livre: Forma 20">
                <a:extLst>
                  <a:ext uri="{FF2B5EF4-FFF2-40B4-BE49-F238E27FC236}">
                    <a16:creationId xmlns:a16="http://schemas.microsoft.com/office/drawing/2014/main" id="{AA2F9417-0FC4-4AE5-9597-F2CA87DA767A}"/>
                  </a:ext>
                </a:extLst>
              </p:cNvPr>
              <p:cNvSpPr/>
              <p:nvPr/>
            </p:nvSpPr>
            <p:spPr>
              <a:xfrm>
                <a:off x="1114742" y="6500939"/>
                <a:ext cx="2179192" cy="357060"/>
              </a:xfrm>
              <a:custGeom>
                <a:avLst/>
                <a:gdLst>
                  <a:gd name="connsiteX0" fmla="*/ 1089406 w 2179192"/>
                  <a:gd name="connsiteY0" fmla="*/ 0 h 357060"/>
                  <a:gd name="connsiteX1" fmla="*/ 629539 w 2179192"/>
                  <a:gd name="connsiteY1" fmla="*/ 57976 h 357060"/>
                  <a:gd name="connsiteX2" fmla="*/ 373063 w 2179192"/>
                  <a:gd name="connsiteY2" fmla="*/ 144653 h 357060"/>
                  <a:gd name="connsiteX3" fmla="*/ 212154 w 2179192"/>
                  <a:gd name="connsiteY3" fmla="*/ 222186 h 357060"/>
                  <a:gd name="connsiteX4" fmla="*/ 60388 w 2179192"/>
                  <a:gd name="connsiteY4" fmla="*/ 314389 h 357060"/>
                  <a:gd name="connsiteX5" fmla="*/ 0 w 2179192"/>
                  <a:gd name="connsiteY5" fmla="*/ 357060 h 357060"/>
                  <a:gd name="connsiteX6" fmla="*/ 2179193 w 2179192"/>
                  <a:gd name="connsiteY6" fmla="*/ 357060 h 357060"/>
                  <a:gd name="connsiteX7" fmla="*/ 1089787 w 2179192"/>
                  <a:gd name="connsiteY7" fmla="*/ 0 h 357060"/>
                  <a:gd name="connsiteX8" fmla="*/ 1089406 w 2179192"/>
                  <a:gd name="connsiteY8" fmla="*/ 0 h 357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79192" h="357060">
                    <a:moveTo>
                      <a:pt x="1089406" y="0"/>
                    </a:moveTo>
                    <a:cubicBezTo>
                      <a:pt x="930593" y="0"/>
                      <a:pt x="776541" y="20129"/>
                      <a:pt x="629539" y="57976"/>
                    </a:cubicBezTo>
                    <a:cubicBezTo>
                      <a:pt x="541337" y="80708"/>
                      <a:pt x="455613" y="109728"/>
                      <a:pt x="373063" y="144653"/>
                    </a:cubicBezTo>
                    <a:cubicBezTo>
                      <a:pt x="318008" y="167957"/>
                      <a:pt x="264287" y="193802"/>
                      <a:pt x="212154" y="222186"/>
                    </a:cubicBezTo>
                    <a:cubicBezTo>
                      <a:pt x="159957" y="250507"/>
                      <a:pt x="109347" y="281305"/>
                      <a:pt x="60388" y="314389"/>
                    </a:cubicBezTo>
                    <a:cubicBezTo>
                      <a:pt x="39941" y="328168"/>
                      <a:pt x="19812" y="342455"/>
                      <a:pt x="0" y="357060"/>
                    </a:cubicBezTo>
                    <a:lnTo>
                      <a:pt x="2179193" y="357060"/>
                    </a:lnTo>
                    <a:cubicBezTo>
                      <a:pt x="1874139" y="132715"/>
                      <a:pt x="1497457" y="64"/>
                      <a:pt x="1089787" y="0"/>
                    </a:cubicBezTo>
                    <a:lnTo>
                      <a:pt x="1089406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 dirty="0"/>
              </a:p>
            </p:txBody>
          </p:sp>
          <p:sp>
            <p:nvSpPr>
              <p:cNvPr id="22" name="Forma Livre: Forma 21">
                <a:extLst>
                  <a:ext uri="{FF2B5EF4-FFF2-40B4-BE49-F238E27FC236}">
                    <a16:creationId xmlns:a16="http://schemas.microsoft.com/office/drawing/2014/main" id="{23EC021B-503C-48E2-B2C0-7EE6C7B1E251}"/>
                  </a:ext>
                </a:extLst>
              </p:cNvPr>
              <p:cNvSpPr/>
              <p:nvPr/>
            </p:nvSpPr>
            <p:spPr>
              <a:xfrm>
                <a:off x="0" y="2825369"/>
                <a:ext cx="363474" cy="1770443"/>
              </a:xfrm>
              <a:custGeom>
                <a:avLst/>
                <a:gdLst>
                  <a:gd name="connsiteX0" fmla="*/ 363474 w 363474"/>
                  <a:gd name="connsiteY0" fmla="*/ 1770444 h 1770443"/>
                  <a:gd name="connsiteX1" fmla="*/ 363474 w 363474"/>
                  <a:gd name="connsiteY1" fmla="*/ 0 h 1770443"/>
                  <a:gd name="connsiteX2" fmla="*/ 0 w 363474"/>
                  <a:gd name="connsiteY2" fmla="*/ 0 h 1770443"/>
                  <a:gd name="connsiteX3" fmla="*/ 0 w 363474"/>
                  <a:gd name="connsiteY3" fmla="*/ 825817 h 1770443"/>
                  <a:gd name="connsiteX4" fmla="*/ 363474 w 363474"/>
                  <a:gd name="connsiteY4" fmla="*/ 1770444 h 1770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3474" h="1770443">
                    <a:moveTo>
                      <a:pt x="363474" y="1770444"/>
                    </a:moveTo>
                    <a:lnTo>
                      <a:pt x="363474" y="0"/>
                    </a:lnTo>
                    <a:lnTo>
                      <a:pt x="0" y="0"/>
                    </a:lnTo>
                    <a:lnTo>
                      <a:pt x="0" y="825817"/>
                    </a:lnTo>
                    <a:cubicBezTo>
                      <a:pt x="213360" y="1085152"/>
                      <a:pt x="346901" y="1412494"/>
                      <a:pt x="363474" y="1770444"/>
                    </a:cubicBezTo>
                    <a:close/>
                  </a:path>
                </a:pathLst>
              </a:custGeom>
              <a:solidFill>
                <a:srgbClr val="63B1BC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23" name="Forma Livre: Forma 22">
                <a:extLst>
                  <a:ext uri="{FF2B5EF4-FFF2-40B4-BE49-F238E27FC236}">
                    <a16:creationId xmlns:a16="http://schemas.microsoft.com/office/drawing/2014/main" id="{DA955C7C-C7C4-4B6A-8E4D-C9B6C2592E5A}"/>
                  </a:ext>
                </a:extLst>
              </p:cNvPr>
              <p:cNvSpPr/>
              <p:nvPr/>
            </p:nvSpPr>
            <p:spPr>
              <a:xfrm>
                <a:off x="0" y="3651440"/>
                <a:ext cx="365252" cy="2851657"/>
              </a:xfrm>
              <a:custGeom>
                <a:avLst/>
                <a:gdLst>
                  <a:gd name="connsiteX0" fmla="*/ 0 w 365252"/>
                  <a:gd name="connsiteY0" fmla="*/ 0 h 2851657"/>
                  <a:gd name="connsiteX1" fmla="*/ 0 w 365252"/>
                  <a:gd name="connsiteY1" fmla="*/ 2851658 h 2851657"/>
                  <a:gd name="connsiteX2" fmla="*/ 365252 w 365252"/>
                  <a:gd name="connsiteY2" fmla="*/ 2851658 h 2851657"/>
                  <a:gd name="connsiteX3" fmla="*/ 365252 w 365252"/>
                  <a:gd name="connsiteY3" fmla="*/ 1019746 h 2851657"/>
                  <a:gd name="connsiteX4" fmla="*/ 363411 w 365252"/>
                  <a:gd name="connsiteY4" fmla="*/ 944372 h 2851657"/>
                  <a:gd name="connsiteX5" fmla="*/ 363411 w 365252"/>
                  <a:gd name="connsiteY5" fmla="*/ 948055 h 2851657"/>
                  <a:gd name="connsiteX6" fmla="*/ 0 w 365252"/>
                  <a:gd name="connsiteY6" fmla="*/ 0 h 2851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5252" h="2851657">
                    <a:moveTo>
                      <a:pt x="0" y="0"/>
                    </a:moveTo>
                    <a:lnTo>
                      <a:pt x="0" y="2851658"/>
                    </a:lnTo>
                    <a:lnTo>
                      <a:pt x="365252" y="2851658"/>
                    </a:lnTo>
                    <a:lnTo>
                      <a:pt x="365252" y="1019746"/>
                    </a:lnTo>
                    <a:cubicBezTo>
                      <a:pt x="365252" y="994473"/>
                      <a:pt x="364617" y="969327"/>
                      <a:pt x="363411" y="944372"/>
                    </a:cubicBezTo>
                    <a:lnTo>
                      <a:pt x="363411" y="948055"/>
                    </a:lnTo>
                    <a:cubicBezTo>
                      <a:pt x="347663" y="588772"/>
                      <a:pt x="213931" y="260159"/>
                      <a:pt x="0" y="0"/>
                    </a:cubicBezTo>
                    <a:close/>
                  </a:path>
                </a:pathLst>
              </a:custGeom>
              <a:solidFill>
                <a:schemeClr val="accent1">
                  <a:lumMod val="90000"/>
                  <a:lumOff val="1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24" name="Forma Livre: Forma 23">
                <a:extLst>
                  <a:ext uri="{FF2B5EF4-FFF2-40B4-BE49-F238E27FC236}">
                    <a16:creationId xmlns:a16="http://schemas.microsoft.com/office/drawing/2014/main" id="{1320EC50-3DEC-4346-9082-1DCF5BFE2E0B}"/>
                  </a:ext>
                </a:extLst>
              </p:cNvPr>
              <p:cNvSpPr/>
              <p:nvPr/>
            </p:nvSpPr>
            <p:spPr>
              <a:xfrm>
                <a:off x="0" y="3651186"/>
                <a:ext cx="363474" cy="948309"/>
              </a:xfrm>
              <a:custGeom>
                <a:avLst/>
                <a:gdLst>
                  <a:gd name="connsiteX0" fmla="*/ 0 w 363474"/>
                  <a:gd name="connsiteY0" fmla="*/ 254 h 948309"/>
                  <a:gd name="connsiteX1" fmla="*/ 363474 w 363474"/>
                  <a:gd name="connsiteY1" fmla="*/ 948309 h 948309"/>
                  <a:gd name="connsiteX2" fmla="*/ 363474 w 363474"/>
                  <a:gd name="connsiteY2" fmla="*/ 944626 h 948309"/>
                  <a:gd name="connsiteX3" fmla="*/ 0 w 363474"/>
                  <a:gd name="connsiteY3" fmla="*/ 0 h 948309"/>
                  <a:gd name="connsiteX4" fmla="*/ 0 w 363474"/>
                  <a:gd name="connsiteY4" fmla="*/ 254 h 948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3474" h="948309">
                    <a:moveTo>
                      <a:pt x="0" y="254"/>
                    </a:moveTo>
                    <a:cubicBezTo>
                      <a:pt x="213931" y="260414"/>
                      <a:pt x="347663" y="589026"/>
                      <a:pt x="363474" y="948309"/>
                    </a:cubicBezTo>
                    <a:lnTo>
                      <a:pt x="363474" y="944626"/>
                    </a:lnTo>
                    <a:cubicBezTo>
                      <a:pt x="346901" y="586677"/>
                      <a:pt x="213360" y="259334"/>
                      <a:pt x="0" y="0"/>
                    </a:cubicBezTo>
                    <a:lnTo>
                      <a:pt x="0" y="254"/>
                    </a:lnTo>
                    <a:close/>
                  </a:path>
                </a:pathLst>
              </a:custGeom>
              <a:solidFill>
                <a:srgbClr val="1F2A44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334283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 Clar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áfico 4">
            <a:extLst>
              <a:ext uri="{FF2B5EF4-FFF2-40B4-BE49-F238E27FC236}">
                <a16:creationId xmlns:a16="http://schemas.microsoft.com/office/drawing/2014/main" id="{701D7AFC-7105-4A33-9F02-C9158F448CF1}"/>
              </a:ext>
            </a:extLst>
          </p:cNvPr>
          <p:cNvGrpSpPr/>
          <p:nvPr userDrawn="1"/>
        </p:nvGrpSpPr>
        <p:grpSpPr>
          <a:xfrm>
            <a:off x="1" y="1"/>
            <a:ext cx="13442949" cy="7561262"/>
            <a:chOff x="0" y="0"/>
            <a:chExt cx="12191999" cy="6857999"/>
          </a:xfrm>
        </p:grpSpPr>
        <p:grpSp>
          <p:nvGrpSpPr>
            <p:cNvPr id="10" name="Gráfico 4">
              <a:extLst>
                <a:ext uri="{FF2B5EF4-FFF2-40B4-BE49-F238E27FC236}">
                  <a16:creationId xmlns:a16="http://schemas.microsoft.com/office/drawing/2014/main" id="{601EAF6D-21CC-4E38-8BD3-702B9817F6A9}"/>
                </a:ext>
              </a:extLst>
            </p:cNvPr>
            <p:cNvGrpSpPr/>
            <p:nvPr/>
          </p:nvGrpSpPr>
          <p:grpSpPr>
            <a:xfrm>
              <a:off x="8898064" y="0"/>
              <a:ext cx="3293935" cy="4032630"/>
              <a:chOff x="8898064" y="0"/>
              <a:chExt cx="3293935" cy="4032630"/>
            </a:xfrm>
          </p:grpSpPr>
          <p:sp>
            <p:nvSpPr>
              <p:cNvPr id="14" name="Forma Livre: Forma 13">
                <a:extLst>
                  <a:ext uri="{FF2B5EF4-FFF2-40B4-BE49-F238E27FC236}">
                    <a16:creationId xmlns:a16="http://schemas.microsoft.com/office/drawing/2014/main" id="{3076B9B1-1FA1-4C8E-8CEB-E5846716CE93}"/>
                  </a:ext>
                </a:extLst>
              </p:cNvPr>
              <p:cNvSpPr/>
              <p:nvPr/>
            </p:nvSpPr>
            <p:spPr>
              <a:xfrm>
                <a:off x="8898064" y="0"/>
                <a:ext cx="2179192" cy="357060"/>
              </a:xfrm>
              <a:custGeom>
                <a:avLst/>
                <a:gdLst>
                  <a:gd name="connsiteX0" fmla="*/ 1089787 w 2179192"/>
                  <a:gd name="connsiteY0" fmla="*/ 357061 h 357060"/>
                  <a:gd name="connsiteX1" fmla="*/ 1549654 w 2179192"/>
                  <a:gd name="connsiteY1" fmla="*/ 299085 h 357060"/>
                  <a:gd name="connsiteX2" fmla="*/ 1806130 w 2179192"/>
                  <a:gd name="connsiteY2" fmla="*/ 212408 h 357060"/>
                  <a:gd name="connsiteX3" fmla="*/ 1967040 w 2179192"/>
                  <a:gd name="connsiteY3" fmla="*/ 134874 h 357060"/>
                  <a:gd name="connsiteX4" fmla="*/ 2118804 w 2179192"/>
                  <a:gd name="connsiteY4" fmla="*/ 42672 h 357060"/>
                  <a:gd name="connsiteX5" fmla="*/ 2179193 w 2179192"/>
                  <a:gd name="connsiteY5" fmla="*/ 0 h 357060"/>
                  <a:gd name="connsiteX6" fmla="*/ 0 w 2179192"/>
                  <a:gd name="connsiteY6" fmla="*/ 0 h 357060"/>
                  <a:gd name="connsiteX7" fmla="*/ 1089406 w 2179192"/>
                  <a:gd name="connsiteY7" fmla="*/ 357061 h 357060"/>
                  <a:gd name="connsiteX8" fmla="*/ 1089787 w 2179192"/>
                  <a:gd name="connsiteY8" fmla="*/ 357061 h 357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79192" h="357060">
                    <a:moveTo>
                      <a:pt x="1089787" y="357061"/>
                    </a:moveTo>
                    <a:cubicBezTo>
                      <a:pt x="1248601" y="357061"/>
                      <a:pt x="1402652" y="336931"/>
                      <a:pt x="1549654" y="299085"/>
                    </a:cubicBezTo>
                    <a:cubicBezTo>
                      <a:pt x="1637855" y="276352"/>
                      <a:pt x="1723580" y="247333"/>
                      <a:pt x="1806130" y="212408"/>
                    </a:cubicBezTo>
                    <a:cubicBezTo>
                      <a:pt x="1861185" y="189103"/>
                      <a:pt x="1914906" y="163259"/>
                      <a:pt x="1967040" y="134874"/>
                    </a:cubicBezTo>
                    <a:cubicBezTo>
                      <a:pt x="2019237" y="106553"/>
                      <a:pt x="2069846" y="75756"/>
                      <a:pt x="2118804" y="42672"/>
                    </a:cubicBezTo>
                    <a:cubicBezTo>
                      <a:pt x="2139252" y="28893"/>
                      <a:pt x="2159381" y="14605"/>
                      <a:pt x="2179193" y="0"/>
                    </a:cubicBezTo>
                    <a:lnTo>
                      <a:pt x="0" y="0"/>
                    </a:lnTo>
                    <a:cubicBezTo>
                      <a:pt x="305054" y="224346"/>
                      <a:pt x="681736" y="356997"/>
                      <a:pt x="1089406" y="357061"/>
                    </a:cubicBezTo>
                    <a:lnTo>
                      <a:pt x="1089787" y="357061"/>
                    </a:ln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15" name="Forma Livre: Forma 14">
                <a:extLst>
                  <a:ext uri="{FF2B5EF4-FFF2-40B4-BE49-F238E27FC236}">
                    <a16:creationId xmlns:a16="http://schemas.microsoft.com/office/drawing/2014/main" id="{4E844278-FBEE-4B45-B12D-5AD688CA9907}"/>
                  </a:ext>
                </a:extLst>
              </p:cNvPr>
              <p:cNvSpPr/>
              <p:nvPr/>
            </p:nvSpPr>
            <p:spPr>
              <a:xfrm>
                <a:off x="11828526" y="2262187"/>
                <a:ext cx="363473" cy="1770443"/>
              </a:xfrm>
              <a:custGeom>
                <a:avLst/>
                <a:gdLst>
                  <a:gd name="connsiteX0" fmla="*/ 0 w 363473"/>
                  <a:gd name="connsiteY0" fmla="*/ 0 h 1770443"/>
                  <a:gd name="connsiteX1" fmla="*/ 0 w 363473"/>
                  <a:gd name="connsiteY1" fmla="*/ 1770444 h 1770443"/>
                  <a:gd name="connsiteX2" fmla="*/ 363474 w 363473"/>
                  <a:gd name="connsiteY2" fmla="*/ 1770444 h 1770443"/>
                  <a:gd name="connsiteX3" fmla="*/ 363474 w 363473"/>
                  <a:gd name="connsiteY3" fmla="*/ 944626 h 1770443"/>
                  <a:gd name="connsiteX4" fmla="*/ 0 w 363473"/>
                  <a:gd name="connsiteY4" fmla="*/ 0 h 1770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3473" h="1770443">
                    <a:moveTo>
                      <a:pt x="0" y="0"/>
                    </a:moveTo>
                    <a:lnTo>
                      <a:pt x="0" y="1770444"/>
                    </a:lnTo>
                    <a:lnTo>
                      <a:pt x="363474" y="1770444"/>
                    </a:lnTo>
                    <a:lnTo>
                      <a:pt x="363474" y="944626"/>
                    </a:lnTo>
                    <a:cubicBezTo>
                      <a:pt x="150114" y="685292"/>
                      <a:pt x="16573" y="357949"/>
                      <a:pt x="0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17" name="Forma Livre: Forma 16">
                <a:extLst>
                  <a:ext uri="{FF2B5EF4-FFF2-40B4-BE49-F238E27FC236}">
                    <a16:creationId xmlns:a16="http://schemas.microsoft.com/office/drawing/2014/main" id="{53209783-7B95-4D0E-B9D7-2A831B63D022}"/>
                  </a:ext>
                </a:extLst>
              </p:cNvPr>
              <p:cNvSpPr/>
              <p:nvPr/>
            </p:nvSpPr>
            <p:spPr>
              <a:xfrm>
                <a:off x="11826747" y="354965"/>
                <a:ext cx="365252" cy="2851594"/>
              </a:xfrm>
              <a:custGeom>
                <a:avLst/>
                <a:gdLst>
                  <a:gd name="connsiteX0" fmla="*/ 365252 w 365252"/>
                  <a:gd name="connsiteY0" fmla="*/ 2851595 h 2851594"/>
                  <a:gd name="connsiteX1" fmla="*/ 365252 w 365252"/>
                  <a:gd name="connsiteY1" fmla="*/ 0 h 2851594"/>
                  <a:gd name="connsiteX2" fmla="*/ 0 w 365252"/>
                  <a:gd name="connsiteY2" fmla="*/ 0 h 2851594"/>
                  <a:gd name="connsiteX3" fmla="*/ 0 w 365252"/>
                  <a:gd name="connsiteY3" fmla="*/ 1831912 h 2851594"/>
                  <a:gd name="connsiteX4" fmla="*/ 1842 w 365252"/>
                  <a:gd name="connsiteY4" fmla="*/ 1907286 h 2851594"/>
                  <a:gd name="connsiteX5" fmla="*/ 1842 w 365252"/>
                  <a:gd name="connsiteY5" fmla="*/ 1903603 h 2851594"/>
                  <a:gd name="connsiteX6" fmla="*/ 365252 w 365252"/>
                  <a:gd name="connsiteY6" fmla="*/ 2851595 h 2851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5252" h="2851594">
                    <a:moveTo>
                      <a:pt x="365252" y="2851595"/>
                    </a:moveTo>
                    <a:lnTo>
                      <a:pt x="365252" y="0"/>
                    </a:lnTo>
                    <a:lnTo>
                      <a:pt x="0" y="0"/>
                    </a:lnTo>
                    <a:lnTo>
                      <a:pt x="0" y="1831912"/>
                    </a:lnTo>
                    <a:cubicBezTo>
                      <a:pt x="0" y="1857185"/>
                      <a:pt x="635" y="1882330"/>
                      <a:pt x="1842" y="1907286"/>
                    </a:cubicBezTo>
                    <a:lnTo>
                      <a:pt x="1842" y="1903603"/>
                    </a:lnTo>
                    <a:cubicBezTo>
                      <a:pt x="17590" y="2262823"/>
                      <a:pt x="151321" y="2591435"/>
                      <a:pt x="365252" y="2851595"/>
                    </a:cubicBezTo>
                    <a:close/>
                  </a:path>
                </a:pathLst>
              </a:custGeom>
              <a:solidFill>
                <a:schemeClr val="accent5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 dirty="0"/>
              </a:p>
            </p:txBody>
          </p:sp>
          <p:sp>
            <p:nvSpPr>
              <p:cNvPr id="18" name="Forma Livre: Forma 17">
                <a:extLst>
                  <a:ext uri="{FF2B5EF4-FFF2-40B4-BE49-F238E27FC236}">
                    <a16:creationId xmlns:a16="http://schemas.microsoft.com/office/drawing/2014/main" id="{110982F6-C9ED-4534-B624-4881C5FAEC9D}"/>
                  </a:ext>
                </a:extLst>
              </p:cNvPr>
              <p:cNvSpPr/>
              <p:nvPr/>
            </p:nvSpPr>
            <p:spPr>
              <a:xfrm>
                <a:off x="11828526" y="2258504"/>
                <a:ext cx="363473" cy="948245"/>
              </a:xfrm>
              <a:custGeom>
                <a:avLst/>
                <a:gdLst>
                  <a:gd name="connsiteX0" fmla="*/ 363474 w 363473"/>
                  <a:gd name="connsiteY0" fmla="*/ 948055 h 948245"/>
                  <a:gd name="connsiteX1" fmla="*/ 0 w 363473"/>
                  <a:gd name="connsiteY1" fmla="*/ 0 h 948245"/>
                  <a:gd name="connsiteX2" fmla="*/ 0 w 363473"/>
                  <a:gd name="connsiteY2" fmla="*/ 3683 h 948245"/>
                  <a:gd name="connsiteX3" fmla="*/ 363474 w 363473"/>
                  <a:gd name="connsiteY3" fmla="*/ 948245 h 948245"/>
                  <a:gd name="connsiteX4" fmla="*/ 363474 w 363473"/>
                  <a:gd name="connsiteY4" fmla="*/ 948055 h 948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3473" h="948245">
                    <a:moveTo>
                      <a:pt x="363474" y="948055"/>
                    </a:moveTo>
                    <a:cubicBezTo>
                      <a:pt x="149543" y="687895"/>
                      <a:pt x="15811" y="359283"/>
                      <a:pt x="0" y="0"/>
                    </a:cubicBezTo>
                    <a:lnTo>
                      <a:pt x="0" y="3683"/>
                    </a:lnTo>
                    <a:cubicBezTo>
                      <a:pt x="16510" y="361632"/>
                      <a:pt x="150114" y="688975"/>
                      <a:pt x="363474" y="948245"/>
                    </a:cubicBezTo>
                    <a:lnTo>
                      <a:pt x="363474" y="948055"/>
                    </a:lnTo>
                    <a:close/>
                  </a:path>
                </a:pathLst>
              </a:custGeom>
              <a:solidFill>
                <a:srgbClr val="1F2A44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</p:grpSp>
        <p:grpSp>
          <p:nvGrpSpPr>
            <p:cNvPr id="19" name="Gráfico 4">
              <a:extLst>
                <a:ext uri="{FF2B5EF4-FFF2-40B4-BE49-F238E27FC236}">
                  <a16:creationId xmlns:a16="http://schemas.microsoft.com/office/drawing/2014/main" id="{FE8057C9-FC39-47A8-AB80-9BBECD81C8A9}"/>
                </a:ext>
              </a:extLst>
            </p:cNvPr>
            <p:cNvGrpSpPr/>
            <p:nvPr/>
          </p:nvGrpSpPr>
          <p:grpSpPr>
            <a:xfrm>
              <a:off x="0" y="2825369"/>
              <a:ext cx="3293934" cy="4032630"/>
              <a:chOff x="0" y="2825369"/>
              <a:chExt cx="3293934" cy="4032630"/>
            </a:xfrm>
          </p:grpSpPr>
          <p:sp>
            <p:nvSpPr>
              <p:cNvPr id="21" name="Forma Livre: Forma 20">
                <a:extLst>
                  <a:ext uri="{FF2B5EF4-FFF2-40B4-BE49-F238E27FC236}">
                    <a16:creationId xmlns:a16="http://schemas.microsoft.com/office/drawing/2014/main" id="{AA2F9417-0FC4-4AE5-9597-F2CA87DA767A}"/>
                  </a:ext>
                </a:extLst>
              </p:cNvPr>
              <p:cNvSpPr/>
              <p:nvPr/>
            </p:nvSpPr>
            <p:spPr>
              <a:xfrm>
                <a:off x="1114742" y="6500939"/>
                <a:ext cx="2179192" cy="357060"/>
              </a:xfrm>
              <a:custGeom>
                <a:avLst/>
                <a:gdLst>
                  <a:gd name="connsiteX0" fmla="*/ 1089406 w 2179192"/>
                  <a:gd name="connsiteY0" fmla="*/ 0 h 357060"/>
                  <a:gd name="connsiteX1" fmla="*/ 629539 w 2179192"/>
                  <a:gd name="connsiteY1" fmla="*/ 57976 h 357060"/>
                  <a:gd name="connsiteX2" fmla="*/ 373063 w 2179192"/>
                  <a:gd name="connsiteY2" fmla="*/ 144653 h 357060"/>
                  <a:gd name="connsiteX3" fmla="*/ 212154 w 2179192"/>
                  <a:gd name="connsiteY3" fmla="*/ 222186 h 357060"/>
                  <a:gd name="connsiteX4" fmla="*/ 60388 w 2179192"/>
                  <a:gd name="connsiteY4" fmla="*/ 314389 h 357060"/>
                  <a:gd name="connsiteX5" fmla="*/ 0 w 2179192"/>
                  <a:gd name="connsiteY5" fmla="*/ 357060 h 357060"/>
                  <a:gd name="connsiteX6" fmla="*/ 2179193 w 2179192"/>
                  <a:gd name="connsiteY6" fmla="*/ 357060 h 357060"/>
                  <a:gd name="connsiteX7" fmla="*/ 1089787 w 2179192"/>
                  <a:gd name="connsiteY7" fmla="*/ 0 h 357060"/>
                  <a:gd name="connsiteX8" fmla="*/ 1089406 w 2179192"/>
                  <a:gd name="connsiteY8" fmla="*/ 0 h 357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79192" h="357060">
                    <a:moveTo>
                      <a:pt x="1089406" y="0"/>
                    </a:moveTo>
                    <a:cubicBezTo>
                      <a:pt x="930593" y="0"/>
                      <a:pt x="776541" y="20129"/>
                      <a:pt x="629539" y="57976"/>
                    </a:cubicBezTo>
                    <a:cubicBezTo>
                      <a:pt x="541337" y="80708"/>
                      <a:pt x="455613" y="109728"/>
                      <a:pt x="373063" y="144653"/>
                    </a:cubicBezTo>
                    <a:cubicBezTo>
                      <a:pt x="318008" y="167957"/>
                      <a:pt x="264287" y="193802"/>
                      <a:pt x="212154" y="222186"/>
                    </a:cubicBezTo>
                    <a:cubicBezTo>
                      <a:pt x="159957" y="250507"/>
                      <a:pt x="109347" y="281305"/>
                      <a:pt x="60388" y="314389"/>
                    </a:cubicBezTo>
                    <a:cubicBezTo>
                      <a:pt x="39941" y="328168"/>
                      <a:pt x="19812" y="342455"/>
                      <a:pt x="0" y="357060"/>
                    </a:cubicBezTo>
                    <a:lnTo>
                      <a:pt x="2179193" y="357060"/>
                    </a:lnTo>
                    <a:cubicBezTo>
                      <a:pt x="1874139" y="132715"/>
                      <a:pt x="1497457" y="64"/>
                      <a:pt x="1089787" y="0"/>
                    </a:cubicBezTo>
                    <a:lnTo>
                      <a:pt x="1089406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 dirty="0"/>
              </a:p>
            </p:txBody>
          </p:sp>
          <p:sp>
            <p:nvSpPr>
              <p:cNvPr id="22" name="Forma Livre: Forma 21">
                <a:extLst>
                  <a:ext uri="{FF2B5EF4-FFF2-40B4-BE49-F238E27FC236}">
                    <a16:creationId xmlns:a16="http://schemas.microsoft.com/office/drawing/2014/main" id="{23EC021B-503C-48E2-B2C0-7EE6C7B1E251}"/>
                  </a:ext>
                </a:extLst>
              </p:cNvPr>
              <p:cNvSpPr/>
              <p:nvPr/>
            </p:nvSpPr>
            <p:spPr>
              <a:xfrm>
                <a:off x="0" y="2825369"/>
                <a:ext cx="363474" cy="1770443"/>
              </a:xfrm>
              <a:custGeom>
                <a:avLst/>
                <a:gdLst>
                  <a:gd name="connsiteX0" fmla="*/ 363474 w 363474"/>
                  <a:gd name="connsiteY0" fmla="*/ 1770444 h 1770443"/>
                  <a:gd name="connsiteX1" fmla="*/ 363474 w 363474"/>
                  <a:gd name="connsiteY1" fmla="*/ 0 h 1770443"/>
                  <a:gd name="connsiteX2" fmla="*/ 0 w 363474"/>
                  <a:gd name="connsiteY2" fmla="*/ 0 h 1770443"/>
                  <a:gd name="connsiteX3" fmla="*/ 0 w 363474"/>
                  <a:gd name="connsiteY3" fmla="*/ 825817 h 1770443"/>
                  <a:gd name="connsiteX4" fmla="*/ 363474 w 363474"/>
                  <a:gd name="connsiteY4" fmla="*/ 1770444 h 1770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3474" h="1770443">
                    <a:moveTo>
                      <a:pt x="363474" y="1770444"/>
                    </a:moveTo>
                    <a:lnTo>
                      <a:pt x="363474" y="0"/>
                    </a:lnTo>
                    <a:lnTo>
                      <a:pt x="0" y="0"/>
                    </a:lnTo>
                    <a:lnTo>
                      <a:pt x="0" y="825817"/>
                    </a:lnTo>
                    <a:cubicBezTo>
                      <a:pt x="213360" y="1085152"/>
                      <a:pt x="346901" y="1412494"/>
                      <a:pt x="363474" y="177044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23" name="Forma Livre: Forma 22">
                <a:extLst>
                  <a:ext uri="{FF2B5EF4-FFF2-40B4-BE49-F238E27FC236}">
                    <a16:creationId xmlns:a16="http://schemas.microsoft.com/office/drawing/2014/main" id="{DA955C7C-C7C4-4B6A-8E4D-C9B6C2592E5A}"/>
                  </a:ext>
                </a:extLst>
              </p:cNvPr>
              <p:cNvSpPr/>
              <p:nvPr/>
            </p:nvSpPr>
            <p:spPr>
              <a:xfrm>
                <a:off x="0" y="3651440"/>
                <a:ext cx="365252" cy="2851657"/>
              </a:xfrm>
              <a:custGeom>
                <a:avLst/>
                <a:gdLst>
                  <a:gd name="connsiteX0" fmla="*/ 0 w 365252"/>
                  <a:gd name="connsiteY0" fmla="*/ 0 h 2851657"/>
                  <a:gd name="connsiteX1" fmla="*/ 0 w 365252"/>
                  <a:gd name="connsiteY1" fmla="*/ 2851658 h 2851657"/>
                  <a:gd name="connsiteX2" fmla="*/ 365252 w 365252"/>
                  <a:gd name="connsiteY2" fmla="*/ 2851658 h 2851657"/>
                  <a:gd name="connsiteX3" fmla="*/ 365252 w 365252"/>
                  <a:gd name="connsiteY3" fmla="*/ 1019746 h 2851657"/>
                  <a:gd name="connsiteX4" fmla="*/ 363411 w 365252"/>
                  <a:gd name="connsiteY4" fmla="*/ 944372 h 2851657"/>
                  <a:gd name="connsiteX5" fmla="*/ 363411 w 365252"/>
                  <a:gd name="connsiteY5" fmla="*/ 948055 h 2851657"/>
                  <a:gd name="connsiteX6" fmla="*/ 0 w 365252"/>
                  <a:gd name="connsiteY6" fmla="*/ 0 h 2851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5252" h="2851657">
                    <a:moveTo>
                      <a:pt x="0" y="0"/>
                    </a:moveTo>
                    <a:lnTo>
                      <a:pt x="0" y="2851658"/>
                    </a:lnTo>
                    <a:lnTo>
                      <a:pt x="365252" y="2851658"/>
                    </a:lnTo>
                    <a:lnTo>
                      <a:pt x="365252" y="1019746"/>
                    </a:lnTo>
                    <a:cubicBezTo>
                      <a:pt x="365252" y="994473"/>
                      <a:pt x="364617" y="969327"/>
                      <a:pt x="363411" y="944372"/>
                    </a:cubicBezTo>
                    <a:lnTo>
                      <a:pt x="363411" y="948055"/>
                    </a:lnTo>
                    <a:cubicBezTo>
                      <a:pt x="347663" y="588772"/>
                      <a:pt x="213931" y="260159"/>
                      <a:pt x="0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24" name="Forma Livre: Forma 23">
                <a:extLst>
                  <a:ext uri="{FF2B5EF4-FFF2-40B4-BE49-F238E27FC236}">
                    <a16:creationId xmlns:a16="http://schemas.microsoft.com/office/drawing/2014/main" id="{1320EC50-3DEC-4346-9082-1DCF5BFE2E0B}"/>
                  </a:ext>
                </a:extLst>
              </p:cNvPr>
              <p:cNvSpPr/>
              <p:nvPr/>
            </p:nvSpPr>
            <p:spPr>
              <a:xfrm>
                <a:off x="0" y="3651186"/>
                <a:ext cx="363474" cy="948309"/>
              </a:xfrm>
              <a:custGeom>
                <a:avLst/>
                <a:gdLst>
                  <a:gd name="connsiteX0" fmla="*/ 0 w 363474"/>
                  <a:gd name="connsiteY0" fmla="*/ 254 h 948309"/>
                  <a:gd name="connsiteX1" fmla="*/ 363474 w 363474"/>
                  <a:gd name="connsiteY1" fmla="*/ 948309 h 948309"/>
                  <a:gd name="connsiteX2" fmla="*/ 363474 w 363474"/>
                  <a:gd name="connsiteY2" fmla="*/ 944626 h 948309"/>
                  <a:gd name="connsiteX3" fmla="*/ 0 w 363474"/>
                  <a:gd name="connsiteY3" fmla="*/ 0 h 948309"/>
                  <a:gd name="connsiteX4" fmla="*/ 0 w 363474"/>
                  <a:gd name="connsiteY4" fmla="*/ 254 h 948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3474" h="948309">
                    <a:moveTo>
                      <a:pt x="0" y="254"/>
                    </a:moveTo>
                    <a:cubicBezTo>
                      <a:pt x="213931" y="260414"/>
                      <a:pt x="347663" y="589026"/>
                      <a:pt x="363474" y="948309"/>
                    </a:cubicBezTo>
                    <a:lnTo>
                      <a:pt x="363474" y="944626"/>
                    </a:lnTo>
                    <a:cubicBezTo>
                      <a:pt x="346901" y="586677"/>
                      <a:pt x="213360" y="259334"/>
                      <a:pt x="0" y="0"/>
                    </a:cubicBezTo>
                    <a:lnTo>
                      <a:pt x="0" y="254"/>
                    </a:lnTo>
                    <a:close/>
                  </a:path>
                </a:pathLst>
              </a:custGeom>
              <a:solidFill>
                <a:srgbClr val="1F2A44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150153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72148" y="1692534"/>
            <a:ext cx="5939637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latin typeface="Exo 2" pitchFamily="50" charset="0"/>
              </a:defRPr>
            </a:lvl1pPr>
            <a:lvl2pPr marL="521528" indent="0">
              <a:buNone/>
              <a:defRPr sz="2300" b="1"/>
            </a:lvl2pPr>
            <a:lvl3pPr marL="1043056" indent="0">
              <a:buNone/>
              <a:defRPr sz="2100" b="1"/>
            </a:lvl3pPr>
            <a:lvl4pPr marL="1564584" indent="0">
              <a:buNone/>
              <a:defRPr sz="1800" b="1"/>
            </a:lvl4pPr>
            <a:lvl5pPr marL="2086112" indent="0">
              <a:buNone/>
              <a:defRPr sz="1800" b="1"/>
            </a:lvl5pPr>
            <a:lvl6pPr marL="2607640" indent="0">
              <a:buNone/>
              <a:defRPr sz="1800" b="1"/>
            </a:lvl6pPr>
            <a:lvl7pPr marL="3129168" indent="0">
              <a:buNone/>
              <a:defRPr sz="1800" b="1"/>
            </a:lvl7pPr>
            <a:lvl8pPr marL="3650696" indent="0">
              <a:buNone/>
              <a:defRPr sz="1800" b="1"/>
            </a:lvl8pPr>
            <a:lvl9pPr marL="4172224" indent="0">
              <a:buNone/>
              <a:defRPr sz="1800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72148" y="2397901"/>
            <a:ext cx="5939637" cy="4356478"/>
          </a:xfrm>
          <a:prstGeom prst="rect">
            <a:avLst/>
          </a:prstGeom>
        </p:spPr>
        <p:txBody>
          <a:bodyPr/>
          <a:lstStyle>
            <a:lvl1pPr>
              <a:defRPr sz="2700">
                <a:latin typeface="Exo 2" pitchFamily="50" charset="0"/>
              </a:defRPr>
            </a:lvl1pPr>
            <a:lvl2pPr>
              <a:defRPr sz="2300">
                <a:latin typeface="Exo 2" pitchFamily="50" charset="0"/>
              </a:defRPr>
            </a:lvl2pPr>
            <a:lvl3pPr>
              <a:defRPr sz="2100">
                <a:latin typeface="Exo 2" pitchFamily="50" charset="0"/>
              </a:defRPr>
            </a:lvl3pPr>
            <a:lvl4pPr>
              <a:defRPr sz="1800">
                <a:latin typeface="Exo 2" pitchFamily="50" charset="0"/>
              </a:defRPr>
            </a:lvl4pPr>
            <a:lvl5pPr>
              <a:defRPr sz="1800">
                <a:latin typeface="Exo 2" pitchFamily="50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828833" y="1692534"/>
            <a:ext cx="5941970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latin typeface="Exo 2" pitchFamily="50" charset="0"/>
              </a:defRPr>
            </a:lvl1pPr>
            <a:lvl2pPr marL="521528" indent="0">
              <a:buNone/>
              <a:defRPr sz="2300" b="1"/>
            </a:lvl2pPr>
            <a:lvl3pPr marL="1043056" indent="0">
              <a:buNone/>
              <a:defRPr sz="2100" b="1"/>
            </a:lvl3pPr>
            <a:lvl4pPr marL="1564584" indent="0">
              <a:buNone/>
              <a:defRPr sz="1800" b="1"/>
            </a:lvl4pPr>
            <a:lvl5pPr marL="2086112" indent="0">
              <a:buNone/>
              <a:defRPr sz="1800" b="1"/>
            </a:lvl5pPr>
            <a:lvl6pPr marL="2607640" indent="0">
              <a:buNone/>
              <a:defRPr sz="1800" b="1"/>
            </a:lvl6pPr>
            <a:lvl7pPr marL="3129168" indent="0">
              <a:buNone/>
              <a:defRPr sz="1800" b="1"/>
            </a:lvl7pPr>
            <a:lvl8pPr marL="3650696" indent="0">
              <a:buNone/>
              <a:defRPr sz="1800" b="1"/>
            </a:lvl8pPr>
            <a:lvl9pPr marL="4172224" indent="0">
              <a:buNone/>
              <a:defRPr sz="1800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828833" y="2397901"/>
            <a:ext cx="5941970" cy="4356478"/>
          </a:xfrm>
          <a:prstGeom prst="rect">
            <a:avLst/>
          </a:prstGeom>
        </p:spPr>
        <p:txBody>
          <a:bodyPr/>
          <a:lstStyle>
            <a:lvl1pPr>
              <a:defRPr sz="2700">
                <a:latin typeface="Exo 2" pitchFamily="50" charset="0"/>
              </a:defRPr>
            </a:lvl1pPr>
            <a:lvl2pPr>
              <a:defRPr sz="2300">
                <a:latin typeface="Exo 2" pitchFamily="50" charset="0"/>
              </a:defRPr>
            </a:lvl2pPr>
            <a:lvl3pPr>
              <a:defRPr sz="2100">
                <a:latin typeface="Exo 2" pitchFamily="50" charset="0"/>
              </a:defRPr>
            </a:lvl3pPr>
            <a:lvl4pPr>
              <a:defRPr sz="1800">
                <a:latin typeface="Exo 2" pitchFamily="50" charset="0"/>
              </a:defRPr>
            </a:lvl4pPr>
            <a:lvl5pPr>
              <a:defRPr sz="1800">
                <a:latin typeface="Exo 2" pitchFamily="50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1" y="1"/>
            <a:ext cx="240142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2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829885" y="108224"/>
            <a:ext cx="10137686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000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000">
                <a:latin typeface="Exo 2" pitchFamily="50" charset="0"/>
              </a:defRPr>
            </a:lvl2pPr>
            <a:lvl3pPr>
              <a:buNone/>
              <a:defRPr sz="3000">
                <a:latin typeface="Exo 2" pitchFamily="50" charset="0"/>
              </a:defRPr>
            </a:lvl3pPr>
            <a:lvl4pPr>
              <a:buNone/>
              <a:defRPr sz="3000">
                <a:latin typeface="Exo 2" pitchFamily="50" charset="0"/>
              </a:defRPr>
            </a:lvl4pPr>
            <a:lvl5pPr>
              <a:buNone/>
              <a:defRPr sz="3000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7" name="Espaço Reservado para Texto 15"/>
          <p:cNvSpPr>
            <a:spLocks noGrp="1"/>
          </p:cNvSpPr>
          <p:nvPr>
            <p:ph type="body" sz="quarter" idx="14" hasCustomPrompt="1"/>
          </p:nvPr>
        </p:nvSpPr>
        <p:spPr>
          <a:xfrm>
            <a:off x="692917" y="6876976"/>
            <a:ext cx="11586960" cy="504056"/>
          </a:xfrm>
          <a:prstGeom prst="rect">
            <a:avLst/>
          </a:prstGeom>
        </p:spPr>
        <p:txBody>
          <a:bodyPr anchor="t"/>
          <a:lstStyle>
            <a:lvl1pPr>
              <a:buNone/>
              <a:defRPr sz="1200" b="0" baseline="0">
                <a:solidFill>
                  <a:srgbClr val="292C34"/>
                </a:solidFill>
                <a:latin typeface="Exo 2" pitchFamily="50" charset="0"/>
              </a:defRPr>
            </a:lvl1pPr>
            <a:lvl2pPr>
              <a:buNone/>
              <a:defRPr sz="3000">
                <a:latin typeface="Exo 2" pitchFamily="50" charset="0"/>
              </a:defRPr>
            </a:lvl2pPr>
            <a:lvl3pPr>
              <a:buNone/>
              <a:defRPr sz="3000">
                <a:latin typeface="Exo 2" pitchFamily="50" charset="0"/>
              </a:defRPr>
            </a:lvl3pPr>
            <a:lvl4pPr>
              <a:buNone/>
              <a:defRPr sz="3000">
                <a:latin typeface="Exo 2" pitchFamily="50" charset="0"/>
              </a:defRPr>
            </a:lvl4pPr>
            <a:lvl5pPr>
              <a:buNone/>
              <a:defRPr sz="3000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5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sz="700" dirty="0"/>
          </a:p>
        </p:txBody>
      </p:sp>
      <p:pic>
        <p:nvPicPr>
          <p:cNvPr id="15" name="Imagem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19" y="166075"/>
            <a:ext cx="168719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Subtítulo Escur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áfico 2">
            <a:extLst>
              <a:ext uri="{FF2B5EF4-FFF2-40B4-BE49-F238E27FC236}">
                <a16:creationId xmlns:a16="http://schemas.microsoft.com/office/drawing/2014/main" id="{9FA44C3F-A5C0-4562-8879-6BC028E3E45E}"/>
              </a:ext>
            </a:extLst>
          </p:cNvPr>
          <p:cNvGrpSpPr/>
          <p:nvPr/>
        </p:nvGrpSpPr>
        <p:grpSpPr>
          <a:xfrm rot="10800000">
            <a:off x="2" y="1"/>
            <a:ext cx="13442949" cy="7561262"/>
            <a:chOff x="0" y="0"/>
            <a:chExt cx="12191999" cy="6857999"/>
          </a:xfrm>
        </p:grpSpPr>
        <p:sp>
          <p:nvSpPr>
            <p:cNvPr id="5" name="Forma Livre: Forma 4">
              <a:extLst>
                <a:ext uri="{FF2B5EF4-FFF2-40B4-BE49-F238E27FC236}">
                  <a16:creationId xmlns:a16="http://schemas.microsoft.com/office/drawing/2014/main" id="{982B1294-23DF-4849-B7A3-94BA902A0F46}"/>
                </a:ext>
              </a:extLst>
            </p:cNvPr>
            <p:cNvSpPr/>
            <p:nvPr/>
          </p:nvSpPr>
          <p:spPr>
            <a:xfrm>
              <a:off x="7828026" y="307657"/>
              <a:ext cx="4363973" cy="6550342"/>
            </a:xfrm>
            <a:custGeom>
              <a:avLst/>
              <a:gdLst>
                <a:gd name="connsiteX0" fmla="*/ 3499676 w 4363973"/>
                <a:gd name="connsiteY0" fmla="*/ 4923981 h 6550342"/>
                <a:gd name="connsiteX1" fmla="*/ 4363974 w 4363973"/>
                <a:gd name="connsiteY1" fmla="*/ 6232843 h 6550342"/>
                <a:gd name="connsiteX2" fmla="*/ 4363974 w 4363973"/>
                <a:gd name="connsiteY2" fmla="*/ 0 h 6550342"/>
                <a:gd name="connsiteX3" fmla="*/ 3499676 w 4363973"/>
                <a:gd name="connsiteY3" fmla="*/ 1374394 h 6550342"/>
                <a:gd name="connsiteX4" fmla="*/ 3499676 w 4363973"/>
                <a:gd name="connsiteY4" fmla="*/ 1366647 h 6550342"/>
                <a:gd name="connsiteX5" fmla="*/ 3479546 w 4363973"/>
                <a:gd name="connsiteY5" fmla="*/ 1633347 h 6550342"/>
                <a:gd name="connsiteX6" fmla="*/ 3327146 w 4363973"/>
                <a:gd name="connsiteY6" fmla="*/ 2125472 h 6550342"/>
                <a:gd name="connsiteX7" fmla="*/ 3246374 w 4363973"/>
                <a:gd name="connsiteY7" fmla="*/ 2274253 h 6550342"/>
                <a:gd name="connsiteX8" fmla="*/ 2728214 w 4363973"/>
                <a:gd name="connsiteY8" fmla="*/ 2817876 h 6550342"/>
                <a:gd name="connsiteX9" fmla="*/ 2583942 w 4363973"/>
                <a:gd name="connsiteY9" fmla="*/ 2905506 h 6550342"/>
                <a:gd name="connsiteX10" fmla="*/ 2430970 w 4363973"/>
                <a:gd name="connsiteY10" fmla="*/ 2979230 h 6550342"/>
                <a:gd name="connsiteX11" fmla="*/ 2187130 w 4363973"/>
                <a:gd name="connsiteY11" fmla="*/ 3061780 h 6550342"/>
                <a:gd name="connsiteX12" fmla="*/ 1749806 w 4363973"/>
                <a:gd name="connsiteY12" fmla="*/ 3116834 h 6550342"/>
                <a:gd name="connsiteX13" fmla="*/ 0 w 4363973"/>
                <a:gd name="connsiteY13" fmla="*/ 1366965 h 6550342"/>
                <a:gd name="connsiteX14" fmla="*/ 0 w 4363973"/>
                <a:gd name="connsiteY14" fmla="*/ 3129089 h 6550342"/>
                <a:gd name="connsiteX15" fmla="*/ 0 w 4363973"/>
                <a:gd name="connsiteY15" fmla="*/ 3129089 h 6550342"/>
                <a:gd name="connsiteX16" fmla="*/ 0 w 4363973"/>
                <a:gd name="connsiteY16" fmla="*/ 6550343 h 6550342"/>
                <a:gd name="connsiteX17" fmla="*/ 3499676 w 4363973"/>
                <a:gd name="connsiteY17" fmla="*/ 6550343 h 6550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63973" h="6550342">
                  <a:moveTo>
                    <a:pt x="3499676" y="4923981"/>
                  </a:moveTo>
                  <a:cubicBezTo>
                    <a:pt x="3524709" y="5486158"/>
                    <a:pt x="3856790" y="5989050"/>
                    <a:pt x="4363974" y="6232843"/>
                  </a:cubicBezTo>
                  <a:lnTo>
                    <a:pt x="4363974" y="0"/>
                  </a:lnTo>
                  <a:cubicBezTo>
                    <a:pt x="3835586" y="253849"/>
                    <a:pt x="3499561" y="788191"/>
                    <a:pt x="3499676" y="1374394"/>
                  </a:cubicBezTo>
                  <a:lnTo>
                    <a:pt x="3499676" y="1366647"/>
                  </a:lnTo>
                  <a:cubicBezTo>
                    <a:pt x="3499724" y="1455929"/>
                    <a:pt x="3492995" y="1545085"/>
                    <a:pt x="3479546" y="1633347"/>
                  </a:cubicBezTo>
                  <a:cubicBezTo>
                    <a:pt x="3453499" y="1804054"/>
                    <a:pt x="3402134" y="1969921"/>
                    <a:pt x="3327146" y="2125472"/>
                  </a:cubicBezTo>
                  <a:cubicBezTo>
                    <a:pt x="3302550" y="2176272"/>
                    <a:pt x="3275627" y="2225866"/>
                    <a:pt x="3246374" y="2274253"/>
                  </a:cubicBezTo>
                  <a:cubicBezTo>
                    <a:pt x="3114804" y="2490650"/>
                    <a:pt x="2938056" y="2676084"/>
                    <a:pt x="2728214" y="2817876"/>
                  </a:cubicBezTo>
                  <a:cubicBezTo>
                    <a:pt x="2681647" y="2849330"/>
                    <a:pt x="2633556" y="2878540"/>
                    <a:pt x="2583942" y="2905506"/>
                  </a:cubicBezTo>
                  <a:cubicBezTo>
                    <a:pt x="2534328" y="2932473"/>
                    <a:pt x="2483337" y="2957047"/>
                    <a:pt x="2430970" y="2979230"/>
                  </a:cubicBezTo>
                  <a:cubicBezTo>
                    <a:pt x="2351845" y="3012742"/>
                    <a:pt x="2270341" y="3040335"/>
                    <a:pt x="2187130" y="3061780"/>
                  </a:cubicBezTo>
                  <a:cubicBezTo>
                    <a:pt x="2044250" y="3098447"/>
                    <a:pt x="1897315" y="3116944"/>
                    <a:pt x="1749806" y="3116834"/>
                  </a:cubicBezTo>
                  <a:cubicBezTo>
                    <a:pt x="783400" y="3116834"/>
                    <a:pt x="0" y="2333435"/>
                    <a:pt x="0" y="1366965"/>
                  </a:cubicBezTo>
                  <a:lnTo>
                    <a:pt x="0" y="3129089"/>
                  </a:lnTo>
                  <a:lnTo>
                    <a:pt x="0" y="3129089"/>
                  </a:lnTo>
                  <a:lnTo>
                    <a:pt x="0" y="6550343"/>
                  </a:lnTo>
                  <a:lnTo>
                    <a:pt x="3499676" y="6550343"/>
                  </a:lnTo>
                  <a:close/>
                </a:path>
              </a:pathLst>
            </a:custGeom>
            <a:solidFill>
              <a:srgbClr val="1C253C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7" name="Forma Livre: Forma 6">
              <a:extLst>
                <a:ext uri="{FF2B5EF4-FFF2-40B4-BE49-F238E27FC236}">
                  <a16:creationId xmlns:a16="http://schemas.microsoft.com/office/drawing/2014/main" id="{8FFDBF93-0D9E-4529-B12F-393EDCD571BD}"/>
                </a:ext>
              </a:extLst>
            </p:cNvPr>
            <p:cNvSpPr/>
            <p:nvPr/>
          </p:nvSpPr>
          <p:spPr>
            <a:xfrm>
              <a:off x="0" y="0"/>
              <a:ext cx="862266" cy="368681"/>
            </a:xfrm>
            <a:custGeom>
              <a:avLst/>
              <a:gdLst>
                <a:gd name="connsiteX0" fmla="*/ 0 w 862266"/>
                <a:gd name="connsiteY0" fmla="*/ 0 h 368681"/>
                <a:gd name="connsiteX1" fmla="*/ 862266 w 862266"/>
                <a:gd name="connsiteY1" fmla="*/ 0 h 368681"/>
                <a:gd name="connsiteX2" fmla="*/ 862266 w 862266"/>
                <a:gd name="connsiteY2" fmla="*/ 368681 h 368681"/>
                <a:gd name="connsiteX3" fmla="*/ 0 w 862266"/>
                <a:gd name="connsiteY3" fmla="*/ 368681 h 3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2266" h="368681">
                  <a:moveTo>
                    <a:pt x="0" y="0"/>
                  </a:moveTo>
                  <a:lnTo>
                    <a:pt x="862266" y="0"/>
                  </a:lnTo>
                  <a:lnTo>
                    <a:pt x="862266" y="368681"/>
                  </a:lnTo>
                  <a:lnTo>
                    <a:pt x="0" y="368681"/>
                  </a:lnTo>
                  <a:close/>
                </a:path>
              </a:pathLst>
            </a:custGeom>
            <a:solidFill>
              <a:srgbClr val="EFB66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 dirty="0"/>
            </a:p>
          </p:txBody>
        </p:sp>
        <p:sp>
          <p:nvSpPr>
            <p:cNvPr id="10" name="Forma Livre: Forma 9">
              <a:extLst>
                <a:ext uri="{FF2B5EF4-FFF2-40B4-BE49-F238E27FC236}">
                  <a16:creationId xmlns:a16="http://schemas.microsoft.com/office/drawing/2014/main" id="{AC1B7DA1-5640-47F4-B4ED-84B26AA0F830}"/>
                </a:ext>
              </a:extLst>
            </p:cNvPr>
            <p:cNvSpPr/>
            <p:nvPr/>
          </p:nvSpPr>
          <p:spPr>
            <a:xfrm>
              <a:off x="4346003" y="3436746"/>
              <a:ext cx="3482276" cy="3421253"/>
            </a:xfrm>
            <a:custGeom>
              <a:avLst/>
              <a:gdLst>
                <a:gd name="connsiteX0" fmla="*/ 3481959 w 3482276"/>
                <a:gd name="connsiteY0" fmla="*/ 0 h 3421253"/>
                <a:gd name="connsiteX1" fmla="*/ 1739900 w 3482276"/>
                <a:gd name="connsiteY1" fmla="*/ 0 h 3421253"/>
                <a:gd name="connsiteX2" fmla="*/ 3264218 w 3482276"/>
                <a:gd name="connsiteY2" fmla="*/ 1524381 h 3421253"/>
                <a:gd name="connsiteX3" fmla="*/ 1739900 w 3482276"/>
                <a:gd name="connsiteY3" fmla="*/ 3052572 h 3421253"/>
                <a:gd name="connsiteX4" fmla="*/ 0 w 3482276"/>
                <a:gd name="connsiteY4" fmla="*/ 3052572 h 3421253"/>
                <a:gd name="connsiteX5" fmla="*/ 0 w 3482276"/>
                <a:gd name="connsiteY5" fmla="*/ 3421253 h 3421253"/>
                <a:gd name="connsiteX6" fmla="*/ 3482277 w 3482276"/>
                <a:gd name="connsiteY6" fmla="*/ 3421253 h 3421253"/>
                <a:gd name="connsiteX7" fmla="*/ 3482277 w 3482276"/>
                <a:gd name="connsiteY7" fmla="*/ 0 h 3421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82276" h="3421253">
                  <a:moveTo>
                    <a:pt x="3481959" y="0"/>
                  </a:moveTo>
                  <a:lnTo>
                    <a:pt x="1739900" y="0"/>
                  </a:lnTo>
                  <a:cubicBezTo>
                    <a:pt x="2581783" y="0"/>
                    <a:pt x="3264218" y="682498"/>
                    <a:pt x="3264218" y="1524381"/>
                  </a:cubicBezTo>
                  <a:cubicBezTo>
                    <a:pt x="3264218" y="2366264"/>
                    <a:pt x="2581847" y="3052572"/>
                    <a:pt x="1739900" y="3052572"/>
                  </a:cubicBezTo>
                  <a:lnTo>
                    <a:pt x="0" y="3052572"/>
                  </a:lnTo>
                  <a:lnTo>
                    <a:pt x="0" y="3421253"/>
                  </a:lnTo>
                  <a:lnTo>
                    <a:pt x="3482277" y="3421253"/>
                  </a:lnTo>
                  <a:lnTo>
                    <a:pt x="3482277" y="0"/>
                  </a:lnTo>
                  <a:close/>
                </a:path>
              </a:pathLst>
            </a:custGeom>
            <a:solidFill>
              <a:srgbClr val="1C253C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 dirty="0"/>
            </a:p>
          </p:txBody>
        </p:sp>
        <p:sp>
          <p:nvSpPr>
            <p:cNvPr id="11" name="Forma Livre: Forma 10">
              <a:extLst>
                <a:ext uri="{FF2B5EF4-FFF2-40B4-BE49-F238E27FC236}">
                  <a16:creationId xmlns:a16="http://schemas.microsoft.com/office/drawing/2014/main" id="{419324F1-994D-4CC5-83E8-6ECA59FD5FAF}"/>
                </a:ext>
              </a:extLst>
            </p:cNvPr>
            <p:cNvSpPr/>
            <p:nvPr/>
          </p:nvSpPr>
          <p:spPr>
            <a:xfrm>
              <a:off x="4358132" y="0"/>
              <a:ext cx="3470021" cy="3496818"/>
            </a:xfrm>
            <a:custGeom>
              <a:avLst/>
              <a:gdLst>
                <a:gd name="connsiteX0" fmla="*/ 0 w 3470021"/>
                <a:gd name="connsiteY0" fmla="*/ 1521968 h 3496818"/>
                <a:gd name="connsiteX1" fmla="*/ 0 w 3470021"/>
                <a:gd name="connsiteY1" fmla="*/ 1971929 h 3496818"/>
                <a:gd name="connsiteX2" fmla="*/ 123127 w 3470021"/>
                <a:gd name="connsiteY2" fmla="*/ 2428050 h 3496818"/>
                <a:gd name="connsiteX3" fmla="*/ 196850 w 3470021"/>
                <a:gd name="connsiteY3" fmla="*/ 2581021 h 3496818"/>
                <a:gd name="connsiteX4" fmla="*/ 284480 w 3470021"/>
                <a:gd name="connsiteY4" fmla="*/ 2725293 h 3496818"/>
                <a:gd name="connsiteX5" fmla="*/ 828167 w 3470021"/>
                <a:gd name="connsiteY5" fmla="*/ 3243453 h 3496818"/>
                <a:gd name="connsiteX6" fmla="*/ 976884 w 3470021"/>
                <a:gd name="connsiteY6" fmla="*/ 3324225 h 3496818"/>
                <a:gd name="connsiteX7" fmla="*/ 1469009 w 3470021"/>
                <a:gd name="connsiteY7" fmla="*/ 3476625 h 3496818"/>
                <a:gd name="connsiteX8" fmla="*/ 1735709 w 3470021"/>
                <a:gd name="connsiteY8" fmla="*/ 3496818 h 3496818"/>
                <a:gd name="connsiteX9" fmla="*/ 3470021 w 3470021"/>
                <a:gd name="connsiteY9" fmla="*/ 3496818 h 3496818"/>
                <a:gd name="connsiteX10" fmla="*/ 3470021 w 3470021"/>
                <a:gd name="connsiteY10" fmla="*/ 0 h 3496818"/>
                <a:gd name="connsiteX11" fmla="*/ 1634871 w 3470021"/>
                <a:gd name="connsiteY11" fmla="*/ 0 h 3496818"/>
                <a:gd name="connsiteX12" fmla="*/ 0 w 3470021"/>
                <a:gd name="connsiteY12" fmla="*/ 1521968 h 3496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470021" h="3496818">
                  <a:moveTo>
                    <a:pt x="0" y="1521968"/>
                  </a:moveTo>
                  <a:lnTo>
                    <a:pt x="0" y="1971929"/>
                  </a:lnTo>
                  <a:cubicBezTo>
                    <a:pt x="20062" y="2128871"/>
                    <a:pt x="61487" y="2282332"/>
                    <a:pt x="123127" y="2428050"/>
                  </a:cubicBezTo>
                  <a:cubicBezTo>
                    <a:pt x="145309" y="2480374"/>
                    <a:pt x="169883" y="2531364"/>
                    <a:pt x="196850" y="2581021"/>
                  </a:cubicBezTo>
                  <a:cubicBezTo>
                    <a:pt x="223816" y="2630678"/>
                    <a:pt x="253026" y="2678769"/>
                    <a:pt x="284480" y="2725293"/>
                  </a:cubicBezTo>
                  <a:cubicBezTo>
                    <a:pt x="426266" y="2935162"/>
                    <a:pt x="611727" y="3111916"/>
                    <a:pt x="828167" y="3243453"/>
                  </a:cubicBezTo>
                  <a:cubicBezTo>
                    <a:pt x="876215" y="3272663"/>
                    <a:pt x="925788" y="3299587"/>
                    <a:pt x="976884" y="3324225"/>
                  </a:cubicBezTo>
                  <a:cubicBezTo>
                    <a:pt x="1132435" y="3399213"/>
                    <a:pt x="1298302" y="3450578"/>
                    <a:pt x="1469009" y="3476625"/>
                  </a:cubicBezTo>
                  <a:cubicBezTo>
                    <a:pt x="1557270" y="3490093"/>
                    <a:pt x="1646426" y="3496843"/>
                    <a:pt x="1735709" y="3496818"/>
                  </a:cubicBezTo>
                  <a:lnTo>
                    <a:pt x="3470021" y="3496818"/>
                  </a:lnTo>
                  <a:lnTo>
                    <a:pt x="3470021" y="0"/>
                  </a:lnTo>
                  <a:lnTo>
                    <a:pt x="1634871" y="0"/>
                  </a:lnTo>
                  <a:cubicBezTo>
                    <a:pt x="790511" y="47879"/>
                    <a:pt x="105918" y="694436"/>
                    <a:pt x="0" y="1521968"/>
                  </a:cubicBezTo>
                  <a:close/>
                </a:path>
              </a:pathLst>
            </a:custGeom>
            <a:solidFill>
              <a:srgbClr val="1C253C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 dirty="0"/>
            </a:p>
          </p:txBody>
        </p:sp>
      </p:grpSp>
      <p:sp>
        <p:nvSpPr>
          <p:cNvPr id="15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135473" y="2412481"/>
            <a:ext cx="4616024" cy="1801763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lang="pt-BR" sz="2756" b="1" dirty="0">
                <a:solidFill>
                  <a:schemeClr val="accent3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16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135473" y="4212681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lang="pt-BR" sz="2205" dirty="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65AE51A7-25A0-4788-A659-37FBB67D6D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98716" y="1221731"/>
            <a:ext cx="1871270" cy="1190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865528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Subtítulo Clar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áfico 2">
            <a:extLst>
              <a:ext uri="{FF2B5EF4-FFF2-40B4-BE49-F238E27FC236}">
                <a16:creationId xmlns:a16="http://schemas.microsoft.com/office/drawing/2014/main" id="{9FA44C3F-A5C0-4562-8879-6BC028E3E45E}"/>
              </a:ext>
            </a:extLst>
          </p:cNvPr>
          <p:cNvGrpSpPr/>
          <p:nvPr/>
        </p:nvGrpSpPr>
        <p:grpSpPr>
          <a:xfrm rot="10800000">
            <a:off x="1" y="1"/>
            <a:ext cx="13442949" cy="7561262"/>
            <a:chOff x="0" y="0"/>
            <a:chExt cx="12191999" cy="6857999"/>
          </a:xfrm>
          <a:solidFill>
            <a:schemeClr val="tx1">
              <a:lumMod val="10000"/>
              <a:lumOff val="90000"/>
            </a:schemeClr>
          </a:solidFill>
        </p:grpSpPr>
        <p:sp>
          <p:nvSpPr>
            <p:cNvPr id="5" name="Forma Livre: Forma 4">
              <a:extLst>
                <a:ext uri="{FF2B5EF4-FFF2-40B4-BE49-F238E27FC236}">
                  <a16:creationId xmlns:a16="http://schemas.microsoft.com/office/drawing/2014/main" id="{982B1294-23DF-4849-B7A3-94BA902A0F46}"/>
                </a:ext>
              </a:extLst>
            </p:cNvPr>
            <p:cNvSpPr/>
            <p:nvPr/>
          </p:nvSpPr>
          <p:spPr>
            <a:xfrm>
              <a:off x="7828026" y="307657"/>
              <a:ext cx="4363973" cy="6550342"/>
            </a:xfrm>
            <a:custGeom>
              <a:avLst/>
              <a:gdLst>
                <a:gd name="connsiteX0" fmla="*/ 3499676 w 4363973"/>
                <a:gd name="connsiteY0" fmla="*/ 4923981 h 6550342"/>
                <a:gd name="connsiteX1" fmla="*/ 4363974 w 4363973"/>
                <a:gd name="connsiteY1" fmla="*/ 6232843 h 6550342"/>
                <a:gd name="connsiteX2" fmla="*/ 4363974 w 4363973"/>
                <a:gd name="connsiteY2" fmla="*/ 0 h 6550342"/>
                <a:gd name="connsiteX3" fmla="*/ 3499676 w 4363973"/>
                <a:gd name="connsiteY3" fmla="*/ 1374394 h 6550342"/>
                <a:gd name="connsiteX4" fmla="*/ 3499676 w 4363973"/>
                <a:gd name="connsiteY4" fmla="*/ 1366647 h 6550342"/>
                <a:gd name="connsiteX5" fmla="*/ 3479546 w 4363973"/>
                <a:gd name="connsiteY5" fmla="*/ 1633347 h 6550342"/>
                <a:gd name="connsiteX6" fmla="*/ 3327146 w 4363973"/>
                <a:gd name="connsiteY6" fmla="*/ 2125472 h 6550342"/>
                <a:gd name="connsiteX7" fmla="*/ 3246374 w 4363973"/>
                <a:gd name="connsiteY7" fmla="*/ 2274253 h 6550342"/>
                <a:gd name="connsiteX8" fmla="*/ 2728214 w 4363973"/>
                <a:gd name="connsiteY8" fmla="*/ 2817876 h 6550342"/>
                <a:gd name="connsiteX9" fmla="*/ 2583942 w 4363973"/>
                <a:gd name="connsiteY9" fmla="*/ 2905506 h 6550342"/>
                <a:gd name="connsiteX10" fmla="*/ 2430970 w 4363973"/>
                <a:gd name="connsiteY10" fmla="*/ 2979230 h 6550342"/>
                <a:gd name="connsiteX11" fmla="*/ 2187130 w 4363973"/>
                <a:gd name="connsiteY11" fmla="*/ 3061780 h 6550342"/>
                <a:gd name="connsiteX12" fmla="*/ 1749806 w 4363973"/>
                <a:gd name="connsiteY12" fmla="*/ 3116834 h 6550342"/>
                <a:gd name="connsiteX13" fmla="*/ 0 w 4363973"/>
                <a:gd name="connsiteY13" fmla="*/ 1366965 h 6550342"/>
                <a:gd name="connsiteX14" fmla="*/ 0 w 4363973"/>
                <a:gd name="connsiteY14" fmla="*/ 3129089 h 6550342"/>
                <a:gd name="connsiteX15" fmla="*/ 0 w 4363973"/>
                <a:gd name="connsiteY15" fmla="*/ 3129089 h 6550342"/>
                <a:gd name="connsiteX16" fmla="*/ 0 w 4363973"/>
                <a:gd name="connsiteY16" fmla="*/ 6550343 h 6550342"/>
                <a:gd name="connsiteX17" fmla="*/ 3499676 w 4363973"/>
                <a:gd name="connsiteY17" fmla="*/ 6550343 h 6550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63973" h="6550342">
                  <a:moveTo>
                    <a:pt x="3499676" y="4923981"/>
                  </a:moveTo>
                  <a:cubicBezTo>
                    <a:pt x="3524709" y="5486158"/>
                    <a:pt x="3856790" y="5989050"/>
                    <a:pt x="4363974" y="6232843"/>
                  </a:cubicBezTo>
                  <a:lnTo>
                    <a:pt x="4363974" y="0"/>
                  </a:lnTo>
                  <a:cubicBezTo>
                    <a:pt x="3835586" y="253849"/>
                    <a:pt x="3499561" y="788191"/>
                    <a:pt x="3499676" y="1374394"/>
                  </a:cubicBezTo>
                  <a:lnTo>
                    <a:pt x="3499676" y="1366647"/>
                  </a:lnTo>
                  <a:cubicBezTo>
                    <a:pt x="3499724" y="1455929"/>
                    <a:pt x="3492995" y="1545085"/>
                    <a:pt x="3479546" y="1633347"/>
                  </a:cubicBezTo>
                  <a:cubicBezTo>
                    <a:pt x="3453499" y="1804054"/>
                    <a:pt x="3402134" y="1969921"/>
                    <a:pt x="3327146" y="2125472"/>
                  </a:cubicBezTo>
                  <a:cubicBezTo>
                    <a:pt x="3302550" y="2176272"/>
                    <a:pt x="3275627" y="2225866"/>
                    <a:pt x="3246374" y="2274253"/>
                  </a:cubicBezTo>
                  <a:cubicBezTo>
                    <a:pt x="3114804" y="2490650"/>
                    <a:pt x="2938056" y="2676084"/>
                    <a:pt x="2728214" y="2817876"/>
                  </a:cubicBezTo>
                  <a:cubicBezTo>
                    <a:pt x="2681647" y="2849330"/>
                    <a:pt x="2633556" y="2878540"/>
                    <a:pt x="2583942" y="2905506"/>
                  </a:cubicBezTo>
                  <a:cubicBezTo>
                    <a:pt x="2534328" y="2932473"/>
                    <a:pt x="2483337" y="2957047"/>
                    <a:pt x="2430970" y="2979230"/>
                  </a:cubicBezTo>
                  <a:cubicBezTo>
                    <a:pt x="2351845" y="3012742"/>
                    <a:pt x="2270341" y="3040335"/>
                    <a:pt x="2187130" y="3061780"/>
                  </a:cubicBezTo>
                  <a:cubicBezTo>
                    <a:pt x="2044250" y="3098447"/>
                    <a:pt x="1897315" y="3116944"/>
                    <a:pt x="1749806" y="3116834"/>
                  </a:cubicBezTo>
                  <a:cubicBezTo>
                    <a:pt x="783400" y="3116834"/>
                    <a:pt x="0" y="2333435"/>
                    <a:pt x="0" y="1366965"/>
                  </a:cubicBezTo>
                  <a:lnTo>
                    <a:pt x="0" y="3129089"/>
                  </a:lnTo>
                  <a:lnTo>
                    <a:pt x="0" y="3129089"/>
                  </a:lnTo>
                  <a:lnTo>
                    <a:pt x="0" y="6550343"/>
                  </a:lnTo>
                  <a:lnTo>
                    <a:pt x="3499676" y="6550343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1654"/>
            </a:p>
          </p:txBody>
        </p:sp>
        <p:sp>
          <p:nvSpPr>
            <p:cNvPr id="7" name="Forma Livre: Forma 6">
              <a:extLst>
                <a:ext uri="{FF2B5EF4-FFF2-40B4-BE49-F238E27FC236}">
                  <a16:creationId xmlns:a16="http://schemas.microsoft.com/office/drawing/2014/main" id="{8FFDBF93-0D9E-4529-B12F-393EDCD571BD}"/>
                </a:ext>
              </a:extLst>
            </p:cNvPr>
            <p:cNvSpPr/>
            <p:nvPr/>
          </p:nvSpPr>
          <p:spPr>
            <a:xfrm>
              <a:off x="0" y="0"/>
              <a:ext cx="862266" cy="368681"/>
            </a:xfrm>
            <a:custGeom>
              <a:avLst/>
              <a:gdLst>
                <a:gd name="connsiteX0" fmla="*/ 0 w 862266"/>
                <a:gd name="connsiteY0" fmla="*/ 0 h 368681"/>
                <a:gd name="connsiteX1" fmla="*/ 862266 w 862266"/>
                <a:gd name="connsiteY1" fmla="*/ 0 h 368681"/>
                <a:gd name="connsiteX2" fmla="*/ 862266 w 862266"/>
                <a:gd name="connsiteY2" fmla="*/ 368681 h 368681"/>
                <a:gd name="connsiteX3" fmla="*/ 0 w 862266"/>
                <a:gd name="connsiteY3" fmla="*/ 368681 h 3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2266" h="368681">
                  <a:moveTo>
                    <a:pt x="0" y="0"/>
                  </a:moveTo>
                  <a:lnTo>
                    <a:pt x="862266" y="0"/>
                  </a:lnTo>
                  <a:lnTo>
                    <a:pt x="862266" y="368681"/>
                  </a:lnTo>
                  <a:lnTo>
                    <a:pt x="0" y="368681"/>
                  </a:lnTo>
                  <a:close/>
                </a:path>
              </a:pathLst>
            </a:custGeom>
            <a:solidFill>
              <a:schemeClr val="accent5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1654" dirty="0"/>
            </a:p>
          </p:txBody>
        </p:sp>
        <p:sp>
          <p:nvSpPr>
            <p:cNvPr id="10" name="Forma Livre: Forma 9">
              <a:extLst>
                <a:ext uri="{FF2B5EF4-FFF2-40B4-BE49-F238E27FC236}">
                  <a16:creationId xmlns:a16="http://schemas.microsoft.com/office/drawing/2014/main" id="{AC1B7DA1-5640-47F4-B4ED-84B26AA0F830}"/>
                </a:ext>
              </a:extLst>
            </p:cNvPr>
            <p:cNvSpPr/>
            <p:nvPr/>
          </p:nvSpPr>
          <p:spPr>
            <a:xfrm>
              <a:off x="4346003" y="3436746"/>
              <a:ext cx="3482276" cy="3421253"/>
            </a:xfrm>
            <a:custGeom>
              <a:avLst/>
              <a:gdLst>
                <a:gd name="connsiteX0" fmla="*/ 3481959 w 3482276"/>
                <a:gd name="connsiteY0" fmla="*/ 0 h 3421253"/>
                <a:gd name="connsiteX1" fmla="*/ 1739900 w 3482276"/>
                <a:gd name="connsiteY1" fmla="*/ 0 h 3421253"/>
                <a:gd name="connsiteX2" fmla="*/ 3264218 w 3482276"/>
                <a:gd name="connsiteY2" fmla="*/ 1524381 h 3421253"/>
                <a:gd name="connsiteX3" fmla="*/ 1739900 w 3482276"/>
                <a:gd name="connsiteY3" fmla="*/ 3052572 h 3421253"/>
                <a:gd name="connsiteX4" fmla="*/ 0 w 3482276"/>
                <a:gd name="connsiteY4" fmla="*/ 3052572 h 3421253"/>
                <a:gd name="connsiteX5" fmla="*/ 0 w 3482276"/>
                <a:gd name="connsiteY5" fmla="*/ 3421253 h 3421253"/>
                <a:gd name="connsiteX6" fmla="*/ 3482277 w 3482276"/>
                <a:gd name="connsiteY6" fmla="*/ 3421253 h 3421253"/>
                <a:gd name="connsiteX7" fmla="*/ 3482277 w 3482276"/>
                <a:gd name="connsiteY7" fmla="*/ 0 h 3421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82276" h="3421253">
                  <a:moveTo>
                    <a:pt x="3481959" y="0"/>
                  </a:moveTo>
                  <a:lnTo>
                    <a:pt x="1739900" y="0"/>
                  </a:lnTo>
                  <a:cubicBezTo>
                    <a:pt x="2581783" y="0"/>
                    <a:pt x="3264218" y="682498"/>
                    <a:pt x="3264218" y="1524381"/>
                  </a:cubicBezTo>
                  <a:cubicBezTo>
                    <a:pt x="3264218" y="2366264"/>
                    <a:pt x="2581847" y="3052572"/>
                    <a:pt x="1739900" y="3052572"/>
                  </a:cubicBezTo>
                  <a:lnTo>
                    <a:pt x="0" y="3052572"/>
                  </a:lnTo>
                  <a:lnTo>
                    <a:pt x="0" y="3421253"/>
                  </a:lnTo>
                  <a:lnTo>
                    <a:pt x="3482277" y="3421253"/>
                  </a:lnTo>
                  <a:lnTo>
                    <a:pt x="3482277" y="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1654"/>
            </a:p>
          </p:txBody>
        </p:sp>
        <p:sp>
          <p:nvSpPr>
            <p:cNvPr id="11" name="Forma Livre: Forma 10">
              <a:extLst>
                <a:ext uri="{FF2B5EF4-FFF2-40B4-BE49-F238E27FC236}">
                  <a16:creationId xmlns:a16="http://schemas.microsoft.com/office/drawing/2014/main" id="{419324F1-994D-4CC5-83E8-6ECA59FD5FAF}"/>
                </a:ext>
              </a:extLst>
            </p:cNvPr>
            <p:cNvSpPr/>
            <p:nvPr/>
          </p:nvSpPr>
          <p:spPr>
            <a:xfrm>
              <a:off x="4358132" y="0"/>
              <a:ext cx="3470021" cy="3496818"/>
            </a:xfrm>
            <a:custGeom>
              <a:avLst/>
              <a:gdLst>
                <a:gd name="connsiteX0" fmla="*/ 0 w 3470021"/>
                <a:gd name="connsiteY0" fmla="*/ 1521968 h 3496818"/>
                <a:gd name="connsiteX1" fmla="*/ 0 w 3470021"/>
                <a:gd name="connsiteY1" fmla="*/ 1971929 h 3496818"/>
                <a:gd name="connsiteX2" fmla="*/ 123127 w 3470021"/>
                <a:gd name="connsiteY2" fmla="*/ 2428050 h 3496818"/>
                <a:gd name="connsiteX3" fmla="*/ 196850 w 3470021"/>
                <a:gd name="connsiteY3" fmla="*/ 2581021 h 3496818"/>
                <a:gd name="connsiteX4" fmla="*/ 284480 w 3470021"/>
                <a:gd name="connsiteY4" fmla="*/ 2725293 h 3496818"/>
                <a:gd name="connsiteX5" fmla="*/ 828167 w 3470021"/>
                <a:gd name="connsiteY5" fmla="*/ 3243453 h 3496818"/>
                <a:gd name="connsiteX6" fmla="*/ 976884 w 3470021"/>
                <a:gd name="connsiteY6" fmla="*/ 3324225 h 3496818"/>
                <a:gd name="connsiteX7" fmla="*/ 1469009 w 3470021"/>
                <a:gd name="connsiteY7" fmla="*/ 3476625 h 3496818"/>
                <a:gd name="connsiteX8" fmla="*/ 1735709 w 3470021"/>
                <a:gd name="connsiteY8" fmla="*/ 3496818 h 3496818"/>
                <a:gd name="connsiteX9" fmla="*/ 3470021 w 3470021"/>
                <a:gd name="connsiteY9" fmla="*/ 3496818 h 3496818"/>
                <a:gd name="connsiteX10" fmla="*/ 3470021 w 3470021"/>
                <a:gd name="connsiteY10" fmla="*/ 0 h 3496818"/>
                <a:gd name="connsiteX11" fmla="*/ 1634871 w 3470021"/>
                <a:gd name="connsiteY11" fmla="*/ 0 h 3496818"/>
                <a:gd name="connsiteX12" fmla="*/ 0 w 3470021"/>
                <a:gd name="connsiteY12" fmla="*/ 1521968 h 3496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470021" h="3496818">
                  <a:moveTo>
                    <a:pt x="0" y="1521968"/>
                  </a:moveTo>
                  <a:lnTo>
                    <a:pt x="0" y="1971929"/>
                  </a:lnTo>
                  <a:cubicBezTo>
                    <a:pt x="20062" y="2128871"/>
                    <a:pt x="61487" y="2282332"/>
                    <a:pt x="123127" y="2428050"/>
                  </a:cubicBezTo>
                  <a:cubicBezTo>
                    <a:pt x="145309" y="2480374"/>
                    <a:pt x="169883" y="2531364"/>
                    <a:pt x="196850" y="2581021"/>
                  </a:cubicBezTo>
                  <a:cubicBezTo>
                    <a:pt x="223816" y="2630678"/>
                    <a:pt x="253026" y="2678769"/>
                    <a:pt x="284480" y="2725293"/>
                  </a:cubicBezTo>
                  <a:cubicBezTo>
                    <a:pt x="426266" y="2935162"/>
                    <a:pt x="611727" y="3111916"/>
                    <a:pt x="828167" y="3243453"/>
                  </a:cubicBezTo>
                  <a:cubicBezTo>
                    <a:pt x="876215" y="3272663"/>
                    <a:pt x="925788" y="3299587"/>
                    <a:pt x="976884" y="3324225"/>
                  </a:cubicBezTo>
                  <a:cubicBezTo>
                    <a:pt x="1132435" y="3399213"/>
                    <a:pt x="1298302" y="3450578"/>
                    <a:pt x="1469009" y="3476625"/>
                  </a:cubicBezTo>
                  <a:cubicBezTo>
                    <a:pt x="1557270" y="3490093"/>
                    <a:pt x="1646426" y="3496843"/>
                    <a:pt x="1735709" y="3496818"/>
                  </a:cubicBezTo>
                  <a:lnTo>
                    <a:pt x="3470021" y="3496818"/>
                  </a:lnTo>
                  <a:lnTo>
                    <a:pt x="3470021" y="0"/>
                  </a:lnTo>
                  <a:lnTo>
                    <a:pt x="1634871" y="0"/>
                  </a:lnTo>
                  <a:cubicBezTo>
                    <a:pt x="790511" y="47879"/>
                    <a:pt x="105918" y="694436"/>
                    <a:pt x="0" y="1521968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1654"/>
            </a:p>
          </p:txBody>
        </p:sp>
      </p:grpSp>
      <p:sp>
        <p:nvSpPr>
          <p:cNvPr id="15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135473" y="2412481"/>
            <a:ext cx="4616024" cy="1801763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lang="pt-BR" sz="2756" b="1" dirty="0">
                <a:solidFill>
                  <a:schemeClr val="accent6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16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135473" y="4212681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lang="pt-BR" sz="2205" dirty="0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  <p:grpSp>
        <p:nvGrpSpPr>
          <p:cNvPr id="12" name="Gráfico 3">
            <a:extLst>
              <a:ext uri="{FF2B5EF4-FFF2-40B4-BE49-F238E27FC236}">
                <a16:creationId xmlns:a16="http://schemas.microsoft.com/office/drawing/2014/main" id="{D29431F3-5701-44CD-BC96-C1EFDF98948D}"/>
              </a:ext>
            </a:extLst>
          </p:cNvPr>
          <p:cNvGrpSpPr/>
          <p:nvPr userDrawn="1"/>
        </p:nvGrpSpPr>
        <p:grpSpPr>
          <a:xfrm>
            <a:off x="8275527" y="1418628"/>
            <a:ext cx="1352073" cy="694330"/>
            <a:chOff x="4147095" y="2428093"/>
            <a:chExt cx="3897808" cy="2001745"/>
          </a:xfrm>
        </p:grpSpPr>
        <p:grpSp>
          <p:nvGrpSpPr>
            <p:cNvPr id="13" name="Gráfico 3">
              <a:extLst>
                <a:ext uri="{FF2B5EF4-FFF2-40B4-BE49-F238E27FC236}">
                  <a16:creationId xmlns:a16="http://schemas.microsoft.com/office/drawing/2014/main" id="{0071D8A5-5496-4A1A-8B75-6338681F677F}"/>
                </a:ext>
              </a:extLst>
            </p:cNvPr>
            <p:cNvGrpSpPr/>
            <p:nvPr/>
          </p:nvGrpSpPr>
          <p:grpSpPr>
            <a:xfrm>
              <a:off x="6368511" y="2428093"/>
              <a:ext cx="1676392" cy="2000942"/>
              <a:chOff x="6368511" y="2428093"/>
              <a:chExt cx="1676392" cy="2000942"/>
            </a:xfrm>
            <a:solidFill>
              <a:srgbClr val="1F2A44"/>
            </a:solidFill>
          </p:grpSpPr>
          <p:sp>
            <p:nvSpPr>
              <p:cNvPr id="24" name="Forma Livre: Forma 23">
                <a:extLst>
                  <a:ext uri="{FF2B5EF4-FFF2-40B4-BE49-F238E27FC236}">
                    <a16:creationId xmlns:a16="http://schemas.microsoft.com/office/drawing/2014/main" id="{6A9FC6F8-CD65-47BB-B79C-8573390ACD12}"/>
                  </a:ext>
                </a:extLst>
              </p:cNvPr>
              <p:cNvSpPr/>
              <p:nvPr/>
            </p:nvSpPr>
            <p:spPr>
              <a:xfrm>
                <a:off x="6368511" y="2502768"/>
                <a:ext cx="224090" cy="367746"/>
              </a:xfrm>
              <a:custGeom>
                <a:avLst/>
                <a:gdLst>
                  <a:gd name="connsiteX0" fmla="*/ 0 w 224090"/>
                  <a:gd name="connsiteY0" fmla="*/ 256907 h 367746"/>
                  <a:gd name="connsiteX1" fmla="*/ 40451 w 224090"/>
                  <a:gd name="connsiteY1" fmla="*/ 256907 h 367746"/>
                  <a:gd name="connsiteX2" fmla="*/ 115997 w 224090"/>
                  <a:gd name="connsiteY2" fmla="*/ 328903 h 367746"/>
                  <a:gd name="connsiteX3" fmla="*/ 184443 w 224090"/>
                  <a:gd name="connsiteY3" fmla="*/ 272177 h 367746"/>
                  <a:gd name="connsiteX4" fmla="*/ 126645 w 224090"/>
                  <a:gd name="connsiteY4" fmla="*/ 209423 h 367746"/>
                  <a:gd name="connsiteX5" fmla="*/ 81238 w 224090"/>
                  <a:gd name="connsiteY5" fmla="*/ 196632 h 367746"/>
                  <a:gd name="connsiteX6" fmla="*/ 6094 w 224090"/>
                  <a:gd name="connsiteY6" fmla="*/ 95034 h 367746"/>
                  <a:gd name="connsiteX7" fmla="*/ 111777 w 224090"/>
                  <a:gd name="connsiteY7" fmla="*/ 0 h 367746"/>
                  <a:gd name="connsiteX8" fmla="*/ 219536 w 224090"/>
                  <a:gd name="connsiteY8" fmla="*/ 95570 h 367746"/>
                  <a:gd name="connsiteX9" fmla="*/ 179085 w 224090"/>
                  <a:gd name="connsiteY9" fmla="*/ 95570 h 367746"/>
                  <a:gd name="connsiteX10" fmla="*/ 111710 w 224090"/>
                  <a:gd name="connsiteY10" fmla="*/ 38844 h 367746"/>
                  <a:gd name="connsiteX11" fmla="*/ 45742 w 224090"/>
                  <a:gd name="connsiteY11" fmla="*/ 95034 h 367746"/>
                  <a:gd name="connsiteX12" fmla="*/ 98919 w 224090"/>
                  <a:gd name="connsiteY12" fmla="*/ 158323 h 367746"/>
                  <a:gd name="connsiteX13" fmla="*/ 140777 w 224090"/>
                  <a:gd name="connsiteY13" fmla="*/ 170043 h 367746"/>
                  <a:gd name="connsiteX14" fmla="*/ 224091 w 224090"/>
                  <a:gd name="connsiteY14" fmla="*/ 272177 h 367746"/>
                  <a:gd name="connsiteX15" fmla="*/ 115796 w 224090"/>
                  <a:gd name="connsiteY15" fmla="*/ 367747 h 367746"/>
                  <a:gd name="connsiteX16" fmla="*/ 0 w 224090"/>
                  <a:gd name="connsiteY16" fmla="*/ 256907 h 367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24090" h="367746">
                    <a:moveTo>
                      <a:pt x="0" y="256907"/>
                    </a:moveTo>
                    <a:lnTo>
                      <a:pt x="40451" y="256907"/>
                    </a:lnTo>
                    <a:cubicBezTo>
                      <a:pt x="46680" y="302850"/>
                      <a:pt x="77688" y="328903"/>
                      <a:pt x="115997" y="328903"/>
                    </a:cubicBezTo>
                    <a:cubicBezTo>
                      <a:pt x="156448" y="328903"/>
                      <a:pt x="184443" y="309949"/>
                      <a:pt x="184443" y="272177"/>
                    </a:cubicBezTo>
                    <a:cubicBezTo>
                      <a:pt x="184443" y="239896"/>
                      <a:pt x="167097" y="220608"/>
                      <a:pt x="126645" y="209423"/>
                    </a:cubicBezTo>
                    <a:lnTo>
                      <a:pt x="81238" y="196632"/>
                    </a:lnTo>
                    <a:cubicBezTo>
                      <a:pt x="28062" y="181764"/>
                      <a:pt x="6094" y="138499"/>
                      <a:pt x="6094" y="95034"/>
                    </a:cubicBezTo>
                    <a:cubicBezTo>
                      <a:pt x="6094" y="33687"/>
                      <a:pt x="54650" y="0"/>
                      <a:pt x="111777" y="0"/>
                    </a:cubicBezTo>
                    <a:cubicBezTo>
                      <a:pt x="173660" y="0"/>
                      <a:pt x="211969" y="34759"/>
                      <a:pt x="219536" y="95570"/>
                    </a:cubicBezTo>
                    <a:lnTo>
                      <a:pt x="179085" y="95570"/>
                    </a:lnTo>
                    <a:cubicBezTo>
                      <a:pt x="171450" y="61347"/>
                      <a:pt x="150019" y="38844"/>
                      <a:pt x="111710" y="38844"/>
                    </a:cubicBezTo>
                    <a:cubicBezTo>
                      <a:pt x="68781" y="38844"/>
                      <a:pt x="45742" y="63825"/>
                      <a:pt x="45742" y="95034"/>
                    </a:cubicBezTo>
                    <a:cubicBezTo>
                      <a:pt x="45742" y="127650"/>
                      <a:pt x="62084" y="148210"/>
                      <a:pt x="98919" y="158323"/>
                    </a:cubicBezTo>
                    <a:lnTo>
                      <a:pt x="140777" y="170043"/>
                    </a:lnTo>
                    <a:cubicBezTo>
                      <a:pt x="191274" y="184376"/>
                      <a:pt x="224091" y="215451"/>
                      <a:pt x="224091" y="272177"/>
                    </a:cubicBezTo>
                    <a:cubicBezTo>
                      <a:pt x="224091" y="329439"/>
                      <a:pt x="187389" y="367747"/>
                      <a:pt x="115796" y="367747"/>
                    </a:cubicBezTo>
                    <a:cubicBezTo>
                      <a:pt x="51234" y="367881"/>
                      <a:pt x="5090" y="325353"/>
                      <a:pt x="0" y="256907"/>
                    </a:cubicBez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25" name="Forma Livre: Forma 24">
                <a:extLst>
                  <a:ext uri="{FF2B5EF4-FFF2-40B4-BE49-F238E27FC236}">
                    <a16:creationId xmlns:a16="http://schemas.microsoft.com/office/drawing/2014/main" id="{F7E03DF8-0CA8-4C90-8763-8088692EDCF0}"/>
                  </a:ext>
                </a:extLst>
              </p:cNvPr>
              <p:cNvSpPr/>
              <p:nvPr/>
            </p:nvSpPr>
            <p:spPr>
              <a:xfrm>
                <a:off x="6626423" y="2428093"/>
                <a:ext cx="274721" cy="437398"/>
              </a:xfrm>
              <a:custGeom>
                <a:avLst/>
                <a:gdLst>
                  <a:gd name="connsiteX0" fmla="*/ 202324 w 274721"/>
                  <a:gd name="connsiteY0" fmla="*/ 336672 h 437398"/>
                  <a:gd name="connsiteX1" fmla="*/ 72532 w 274721"/>
                  <a:gd name="connsiteY1" fmla="*/ 336672 h 437398"/>
                  <a:gd name="connsiteX2" fmla="*/ 39915 w 274721"/>
                  <a:gd name="connsiteY2" fmla="*/ 437398 h 437398"/>
                  <a:gd name="connsiteX3" fmla="*/ 0 w 274721"/>
                  <a:gd name="connsiteY3" fmla="*/ 437398 h 437398"/>
                  <a:gd name="connsiteX4" fmla="*/ 114858 w 274721"/>
                  <a:gd name="connsiteY4" fmla="*/ 79832 h 437398"/>
                  <a:gd name="connsiteX5" fmla="*/ 159864 w 274721"/>
                  <a:gd name="connsiteY5" fmla="*/ 79832 h 437398"/>
                  <a:gd name="connsiteX6" fmla="*/ 274722 w 274721"/>
                  <a:gd name="connsiteY6" fmla="*/ 437398 h 437398"/>
                  <a:gd name="connsiteX7" fmla="*/ 234806 w 274721"/>
                  <a:gd name="connsiteY7" fmla="*/ 437398 h 437398"/>
                  <a:gd name="connsiteX8" fmla="*/ 202324 w 274721"/>
                  <a:gd name="connsiteY8" fmla="*/ 336672 h 437398"/>
                  <a:gd name="connsiteX9" fmla="*/ 156917 w 274721"/>
                  <a:gd name="connsiteY9" fmla="*/ 58333 h 437398"/>
                  <a:gd name="connsiteX10" fmla="*/ 116466 w 274721"/>
                  <a:gd name="connsiteY10" fmla="*/ 29267 h 437398"/>
                  <a:gd name="connsiteX11" fmla="*/ 61883 w 274721"/>
                  <a:gd name="connsiteY11" fmla="*/ 58333 h 437398"/>
                  <a:gd name="connsiteX12" fmla="*/ 50162 w 274721"/>
                  <a:gd name="connsiteY12" fmla="*/ 36366 h 437398"/>
                  <a:gd name="connsiteX13" fmla="*/ 118073 w 274721"/>
                  <a:gd name="connsiteY13" fmla="*/ 0 h 437398"/>
                  <a:gd name="connsiteX14" fmla="*/ 158524 w 274721"/>
                  <a:gd name="connsiteY14" fmla="*/ 29066 h 437398"/>
                  <a:gd name="connsiteX15" fmla="*/ 213107 w 274721"/>
                  <a:gd name="connsiteY15" fmla="*/ 0 h 437398"/>
                  <a:gd name="connsiteX16" fmla="*/ 224827 w 274721"/>
                  <a:gd name="connsiteY16" fmla="*/ 21967 h 437398"/>
                  <a:gd name="connsiteX17" fmla="*/ 156917 w 274721"/>
                  <a:gd name="connsiteY17" fmla="*/ 58333 h 437398"/>
                  <a:gd name="connsiteX18" fmla="*/ 137428 w 274721"/>
                  <a:gd name="connsiteY18" fmla="*/ 134414 h 437398"/>
                  <a:gd name="connsiteX19" fmla="*/ 84252 w 274721"/>
                  <a:gd name="connsiteY19" fmla="*/ 300372 h 437398"/>
                  <a:gd name="connsiteX20" fmla="*/ 190470 w 274721"/>
                  <a:gd name="connsiteY20" fmla="*/ 300372 h 437398"/>
                  <a:gd name="connsiteX21" fmla="*/ 137428 w 274721"/>
                  <a:gd name="connsiteY21" fmla="*/ 134414 h 437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74721" h="437398">
                    <a:moveTo>
                      <a:pt x="202324" y="336672"/>
                    </a:moveTo>
                    <a:lnTo>
                      <a:pt x="72532" y="336672"/>
                    </a:lnTo>
                    <a:lnTo>
                      <a:pt x="39915" y="437398"/>
                    </a:lnTo>
                    <a:lnTo>
                      <a:pt x="0" y="437398"/>
                    </a:lnTo>
                    <a:lnTo>
                      <a:pt x="114858" y="79832"/>
                    </a:lnTo>
                    <a:lnTo>
                      <a:pt x="159864" y="79832"/>
                    </a:lnTo>
                    <a:lnTo>
                      <a:pt x="274722" y="437398"/>
                    </a:lnTo>
                    <a:lnTo>
                      <a:pt x="234806" y="437398"/>
                    </a:lnTo>
                    <a:lnTo>
                      <a:pt x="202324" y="336672"/>
                    </a:lnTo>
                    <a:close/>
                    <a:moveTo>
                      <a:pt x="156917" y="58333"/>
                    </a:moveTo>
                    <a:lnTo>
                      <a:pt x="116466" y="29267"/>
                    </a:lnTo>
                    <a:lnTo>
                      <a:pt x="61883" y="58333"/>
                    </a:lnTo>
                    <a:lnTo>
                      <a:pt x="50162" y="36366"/>
                    </a:lnTo>
                    <a:lnTo>
                      <a:pt x="118073" y="0"/>
                    </a:lnTo>
                    <a:lnTo>
                      <a:pt x="158524" y="29066"/>
                    </a:lnTo>
                    <a:lnTo>
                      <a:pt x="213107" y="0"/>
                    </a:lnTo>
                    <a:lnTo>
                      <a:pt x="224827" y="21967"/>
                    </a:lnTo>
                    <a:lnTo>
                      <a:pt x="156917" y="58333"/>
                    </a:lnTo>
                    <a:close/>
                    <a:moveTo>
                      <a:pt x="137428" y="134414"/>
                    </a:moveTo>
                    <a:lnTo>
                      <a:pt x="84252" y="300372"/>
                    </a:lnTo>
                    <a:lnTo>
                      <a:pt x="190470" y="300372"/>
                    </a:lnTo>
                    <a:lnTo>
                      <a:pt x="137428" y="134414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26" name="Forma Livre: Forma 25">
                <a:extLst>
                  <a:ext uri="{FF2B5EF4-FFF2-40B4-BE49-F238E27FC236}">
                    <a16:creationId xmlns:a16="http://schemas.microsoft.com/office/drawing/2014/main" id="{46F88D99-6237-4F3A-91A2-15AF185FD729}"/>
                  </a:ext>
                </a:extLst>
              </p:cNvPr>
              <p:cNvSpPr/>
              <p:nvPr/>
            </p:nvSpPr>
            <p:spPr>
              <a:xfrm>
                <a:off x="6928402" y="2502768"/>
                <a:ext cx="230787" cy="367880"/>
              </a:xfrm>
              <a:custGeom>
                <a:avLst/>
                <a:gdLst>
                  <a:gd name="connsiteX0" fmla="*/ 230788 w 230787"/>
                  <a:gd name="connsiteY0" fmla="*/ 246794 h 367880"/>
                  <a:gd name="connsiteX1" fmla="*/ 115394 w 230787"/>
                  <a:gd name="connsiteY1" fmla="*/ 367881 h 367880"/>
                  <a:gd name="connsiteX2" fmla="*/ 0 w 230787"/>
                  <a:gd name="connsiteY2" fmla="*/ 246794 h 367880"/>
                  <a:gd name="connsiteX3" fmla="*/ 0 w 230787"/>
                  <a:gd name="connsiteY3" fmla="*/ 121086 h 367880"/>
                  <a:gd name="connsiteX4" fmla="*/ 115394 w 230787"/>
                  <a:gd name="connsiteY4" fmla="*/ 0 h 367880"/>
                  <a:gd name="connsiteX5" fmla="*/ 230788 w 230787"/>
                  <a:gd name="connsiteY5" fmla="*/ 121086 h 367880"/>
                  <a:gd name="connsiteX6" fmla="*/ 230788 w 230787"/>
                  <a:gd name="connsiteY6" fmla="*/ 246794 h 367880"/>
                  <a:gd name="connsiteX7" fmla="*/ 191609 w 230787"/>
                  <a:gd name="connsiteY7" fmla="*/ 121086 h 367880"/>
                  <a:gd name="connsiteX8" fmla="*/ 115528 w 230787"/>
                  <a:gd name="connsiteY8" fmla="*/ 38844 h 367880"/>
                  <a:gd name="connsiteX9" fmla="*/ 39447 w 230787"/>
                  <a:gd name="connsiteY9" fmla="*/ 121086 h 367880"/>
                  <a:gd name="connsiteX10" fmla="*/ 39447 w 230787"/>
                  <a:gd name="connsiteY10" fmla="*/ 246794 h 367880"/>
                  <a:gd name="connsiteX11" fmla="*/ 115528 w 230787"/>
                  <a:gd name="connsiteY11" fmla="*/ 329037 h 367880"/>
                  <a:gd name="connsiteX12" fmla="*/ 191609 w 230787"/>
                  <a:gd name="connsiteY12" fmla="*/ 246794 h 367880"/>
                  <a:gd name="connsiteX13" fmla="*/ 191609 w 230787"/>
                  <a:gd name="connsiteY13" fmla="*/ 121086 h 36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30787" h="367880">
                    <a:moveTo>
                      <a:pt x="230788" y="246794"/>
                    </a:moveTo>
                    <a:cubicBezTo>
                      <a:pt x="230788" y="321937"/>
                      <a:pt x="183840" y="367881"/>
                      <a:pt x="115394" y="367881"/>
                    </a:cubicBezTo>
                    <a:cubicBezTo>
                      <a:pt x="46948" y="367881"/>
                      <a:pt x="0" y="321937"/>
                      <a:pt x="0" y="246794"/>
                    </a:cubicBezTo>
                    <a:lnTo>
                      <a:pt x="0" y="121086"/>
                    </a:lnTo>
                    <a:cubicBezTo>
                      <a:pt x="0" y="45943"/>
                      <a:pt x="46948" y="0"/>
                      <a:pt x="115394" y="0"/>
                    </a:cubicBezTo>
                    <a:cubicBezTo>
                      <a:pt x="183840" y="0"/>
                      <a:pt x="230788" y="45943"/>
                      <a:pt x="230788" y="121086"/>
                    </a:cubicBezTo>
                    <a:lnTo>
                      <a:pt x="230788" y="246794"/>
                    </a:lnTo>
                    <a:close/>
                    <a:moveTo>
                      <a:pt x="191609" y="121086"/>
                    </a:moveTo>
                    <a:cubicBezTo>
                      <a:pt x="191609" y="67039"/>
                      <a:pt x="157922" y="38844"/>
                      <a:pt x="115528" y="38844"/>
                    </a:cubicBezTo>
                    <a:cubicBezTo>
                      <a:pt x="73134" y="38844"/>
                      <a:pt x="39447" y="66839"/>
                      <a:pt x="39447" y="121086"/>
                    </a:cubicBezTo>
                    <a:lnTo>
                      <a:pt x="39447" y="246794"/>
                    </a:lnTo>
                    <a:cubicBezTo>
                      <a:pt x="39447" y="300841"/>
                      <a:pt x="73134" y="329037"/>
                      <a:pt x="115528" y="329037"/>
                    </a:cubicBezTo>
                    <a:cubicBezTo>
                      <a:pt x="157922" y="329037"/>
                      <a:pt x="191609" y="301042"/>
                      <a:pt x="191609" y="246794"/>
                    </a:cubicBezTo>
                    <a:lnTo>
                      <a:pt x="191609" y="121086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27" name="Forma Livre: Forma 26">
                <a:extLst>
                  <a:ext uri="{FF2B5EF4-FFF2-40B4-BE49-F238E27FC236}">
                    <a16:creationId xmlns:a16="http://schemas.microsoft.com/office/drawing/2014/main" id="{000C0AA2-D420-48A2-A34C-505D9AC70C6C}"/>
                  </a:ext>
                </a:extLst>
              </p:cNvPr>
              <p:cNvSpPr/>
              <p:nvPr/>
            </p:nvSpPr>
            <p:spPr>
              <a:xfrm>
                <a:off x="6380834" y="3027364"/>
                <a:ext cx="230787" cy="357567"/>
              </a:xfrm>
              <a:custGeom>
                <a:avLst/>
                <a:gdLst>
                  <a:gd name="connsiteX0" fmla="*/ 115461 w 230787"/>
                  <a:gd name="connsiteY0" fmla="*/ 218599 h 357567"/>
                  <a:gd name="connsiteX1" fmla="*/ 39380 w 230787"/>
                  <a:gd name="connsiteY1" fmla="*/ 218599 h 357567"/>
                  <a:gd name="connsiteX2" fmla="*/ 39380 w 230787"/>
                  <a:gd name="connsiteY2" fmla="*/ 357567 h 357567"/>
                  <a:gd name="connsiteX3" fmla="*/ 0 w 230787"/>
                  <a:gd name="connsiteY3" fmla="*/ 357567 h 357567"/>
                  <a:gd name="connsiteX4" fmla="*/ 0 w 230787"/>
                  <a:gd name="connsiteY4" fmla="*/ 0 h 357567"/>
                  <a:gd name="connsiteX5" fmla="*/ 115394 w 230787"/>
                  <a:gd name="connsiteY5" fmla="*/ 0 h 357567"/>
                  <a:gd name="connsiteX6" fmla="*/ 230788 w 230787"/>
                  <a:gd name="connsiteY6" fmla="*/ 109366 h 357567"/>
                  <a:gd name="connsiteX7" fmla="*/ 115461 w 230787"/>
                  <a:gd name="connsiteY7" fmla="*/ 218599 h 357567"/>
                  <a:gd name="connsiteX8" fmla="*/ 115461 w 230787"/>
                  <a:gd name="connsiteY8" fmla="*/ 38844 h 357567"/>
                  <a:gd name="connsiteX9" fmla="*/ 39380 w 230787"/>
                  <a:gd name="connsiteY9" fmla="*/ 38844 h 357567"/>
                  <a:gd name="connsiteX10" fmla="*/ 39380 w 230787"/>
                  <a:gd name="connsiteY10" fmla="*/ 179755 h 357567"/>
                  <a:gd name="connsiteX11" fmla="*/ 115461 w 230787"/>
                  <a:gd name="connsiteY11" fmla="*/ 179755 h 357567"/>
                  <a:gd name="connsiteX12" fmla="*/ 190604 w 230787"/>
                  <a:gd name="connsiteY12" fmla="*/ 109165 h 357567"/>
                  <a:gd name="connsiteX13" fmla="*/ 115461 w 230787"/>
                  <a:gd name="connsiteY13" fmla="*/ 38844 h 357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30787" h="357567">
                    <a:moveTo>
                      <a:pt x="115461" y="218599"/>
                    </a:moveTo>
                    <a:lnTo>
                      <a:pt x="39380" y="218599"/>
                    </a:lnTo>
                    <a:lnTo>
                      <a:pt x="39380" y="357567"/>
                    </a:lnTo>
                    <a:lnTo>
                      <a:pt x="0" y="357567"/>
                    </a:lnTo>
                    <a:lnTo>
                      <a:pt x="0" y="0"/>
                    </a:lnTo>
                    <a:lnTo>
                      <a:pt x="115394" y="0"/>
                    </a:lnTo>
                    <a:cubicBezTo>
                      <a:pt x="198172" y="0"/>
                      <a:pt x="230788" y="45943"/>
                      <a:pt x="230788" y="109366"/>
                    </a:cubicBezTo>
                    <a:cubicBezTo>
                      <a:pt x="230922" y="172656"/>
                      <a:pt x="198105" y="218599"/>
                      <a:pt x="115461" y="218599"/>
                    </a:cubicBezTo>
                    <a:close/>
                    <a:moveTo>
                      <a:pt x="115461" y="38844"/>
                    </a:moveTo>
                    <a:lnTo>
                      <a:pt x="39380" y="38844"/>
                    </a:lnTo>
                    <a:lnTo>
                      <a:pt x="39380" y="179755"/>
                    </a:lnTo>
                    <a:lnTo>
                      <a:pt x="115461" y="179755"/>
                    </a:lnTo>
                    <a:cubicBezTo>
                      <a:pt x="170579" y="179755"/>
                      <a:pt x="190604" y="148010"/>
                      <a:pt x="190604" y="109165"/>
                    </a:cubicBezTo>
                    <a:cubicBezTo>
                      <a:pt x="190470" y="70522"/>
                      <a:pt x="170646" y="38844"/>
                      <a:pt x="115461" y="38844"/>
                    </a:cubicBez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28" name="Forma Livre: Forma 27">
                <a:extLst>
                  <a:ext uri="{FF2B5EF4-FFF2-40B4-BE49-F238E27FC236}">
                    <a16:creationId xmlns:a16="http://schemas.microsoft.com/office/drawing/2014/main" id="{68D0A415-3402-437F-9CB3-DFC80598B488}"/>
                  </a:ext>
                </a:extLst>
              </p:cNvPr>
              <p:cNvSpPr/>
              <p:nvPr/>
            </p:nvSpPr>
            <p:spPr>
              <a:xfrm>
                <a:off x="6616310" y="3027432"/>
                <a:ext cx="274721" cy="357566"/>
              </a:xfrm>
              <a:custGeom>
                <a:avLst/>
                <a:gdLst>
                  <a:gd name="connsiteX0" fmla="*/ 202325 w 274721"/>
                  <a:gd name="connsiteY0" fmla="*/ 256840 h 357566"/>
                  <a:gd name="connsiteX1" fmla="*/ 72532 w 274721"/>
                  <a:gd name="connsiteY1" fmla="*/ 256840 h 357566"/>
                  <a:gd name="connsiteX2" fmla="*/ 39916 w 274721"/>
                  <a:gd name="connsiteY2" fmla="*/ 357567 h 357566"/>
                  <a:gd name="connsiteX3" fmla="*/ 0 w 274721"/>
                  <a:gd name="connsiteY3" fmla="*/ 357567 h 357566"/>
                  <a:gd name="connsiteX4" fmla="*/ 114858 w 274721"/>
                  <a:gd name="connsiteY4" fmla="*/ 0 h 357566"/>
                  <a:gd name="connsiteX5" fmla="*/ 159864 w 274721"/>
                  <a:gd name="connsiteY5" fmla="*/ 0 h 357566"/>
                  <a:gd name="connsiteX6" fmla="*/ 274722 w 274721"/>
                  <a:gd name="connsiteY6" fmla="*/ 357567 h 357566"/>
                  <a:gd name="connsiteX7" fmla="*/ 234806 w 274721"/>
                  <a:gd name="connsiteY7" fmla="*/ 357567 h 357566"/>
                  <a:gd name="connsiteX8" fmla="*/ 202325 w 274721"/>
                  <a:gd name="connsiteY8" fmla="*/ 256840 h 357566"/>
                  <a:gd name="connsiteX9" fmla="*/ 137428 w 274721"/>
                  <a:gd name="connsiteY9" fmla="*/ 54516 h 357566"/>
                  <a:gd name="connsiteX10" fmla="*/ 84252 w 274721"/>
                  <a:gd name="connsiteY10" fmla="*/ 220474 h 357566"/>
                  <a:gd name="connsiteX11" fmla="*/ 190470 w 274721"/>
                  <a:gd name="connsiteY11" fmla="*/ 220474 h 357566"/>
                  <a:gd name="connsiteX12" fmla="*/ 137428 w 274721"/>
                  <a:gd name="connsiteY12" fmla="*/ 54516 h 357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74721" h="357566">
                    <a:moveTo>
                      <a:pt x="202325" y="256840"/>
                    </a:moveTo>
                    <a:lnTo>
                      <a:pt x="72532" y="256840"/>
                    </a:lnTo>
                    <a:lnTo>
                      <a:pt x="39916" y="357567"/>
                    </a:lnTo>
                    <a:lnTo>
                      <a:pt x="0" y="357567"/>
                    </a:lnTo>
                    <a:lnTo>
                      <a:pt x="114858" y="0"/>
                    </a:lnTo>
                    <a:lnTo>
                      <a:pt x="159864" y="0"/>
                    </a:lnTo>
                    <a:lnTo>
                      <a:pt x="274722" y="357567"/>
                    </a:lnTo>
                    <a:lnTo>
                      <a:pt x="234806" y="357567"/>
                    </a:lnTo>
                    <a:lnTo>
                      <a:pt x="202325" y="256840"/>
                    </a:lnTo>
                    <a:close/>
                    <a:moveTo>
                      <a:pt x="137428" y="54516"/>
                    </a:moveTo>
                    <a:lnTo>
                      <a:pt x="84252" y="220474"/>
                    </a:lnTo>
                    <a:lnTo>
                      <a:pt x="190470" y="220474"/>
                    </a:lnTo>
                    <a:lnTo>
                      <a:pt x="137428" y="54516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29" name="Forma Livre: Forma 28">
                <a:extLst>
                  <a:ext uri="{FF2B5EF4-FFF2-40B4-BE49-F238E27FC236}">
                    <a16:creationId xmlns:a16="http://schemas.microsoft.com/office/drawing/2014/main" id="{AB9D441B-2AA3-49AD-A697-A726302EAC0B}"/>
                  </a:ext>
                </a:extLst>
              </p:cNvPr>
              <p:cNvSpPr/>
              <p:nvPr/>
            </p:nvSpPr>
            <p:spPr>
              <a:xfrm>
                <a:off x="6918089" y="3027364"/>
                <a:ext cx="230921" cy="362723"/>
              </a:xfrm>
              <a:custGeom>
                <a:avLst/>
                <a:gdLst>
                  <a:gd name="connsiteX0" fmla="*/ 0 w 230921"/>
                  <a:gd name="connsiteY0" fmla="*/ 0 h 362723"/>
                  <a:gd name="connsiteX1" fmla="*/ 39380 w 230921"/>
                  <a:gd name="connsiteY1" fmla="*/ 0 h 362723"/>
                  <a:gd name="connsiteX2" fmla="*/ 39380 w 230921"/>
                  <a:gd name="connsiteY2" fmla="*/ 241637 h 362723"/>
                  <a:gd name="connsiteX3" fmla="*/ 115461 w 230921"/>
                  <a:gd name="connsiteY3" fmla="*/ 323880 h 362723"/>
                  <a:gd name="connsiteX4" fmla="*/ 191542 w 230921"/>
                  <a:gd name="connsiteY4" fmla="*/ 241637 h 362723"/>
                  <a:gd name="connsiteX5" fmla="*/ 191542 w 230921"/>
                  <a:gd name="connsiteY5" fmla="*/ 0 h 362723"/>
                  <a:gd name="connsiteX6" fmla="*/ 230922 w 230921"/>
                  <a:gd name="connsiteY6" fmla="*/ 0 h 362723"/>
                  <a:gd name="connsiteX7" fmla="*/ 230922 w 230921"/>
                  <a:gd name="connsiteY7" fmla="*/ 241637 h 362723"/>
                  <a:gd name="connsiteX8" fmla="*/ 115528 w 230921"/>
                  <a:gd name="connsiteY8" fmla="*/ 362724 h 362723"/>
                  <a:gd name="connsiteX9" fmla="*/ 134 w 230921"/>
                  <a:gd name="connsiteY9" fmla="*/ 241637 h 362723"/>
                  <a:gd name="connsiteX10" fmla="*/ 134 w 230921"/>
                  <a:gd name="connsiteY10" fmla="*/ 0 h 362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30921" h="362723">
                    <a:moveTo>
                      <a:pt x="0" y="0"/>
                    </a:moveTo>
                    <a:lnTo>
                      <a:pt x="39380" y="0"/>
                    </a:lnTo>
                    <a:lnTo>
                      <a:pt x="39380" y="241637"/>
                    </a:lnTo>
                    <a:cubicBezTo>
                      <a:pt x="39380" y="295684"/>
                      <a:pt x="73067" y="323880"/>
                      <a:pt x="115461" y="323880"/>
                    </a:cubicBezTo>
                    <a:cubicBezTo>
                      <a:pt x="157855" y="323880"/>
                      <a:pt x="191542" y="295885"/>
                      <a:pt x="191542" y="241637"/>
                    </a:cubicBezTo>
                    <a:lnTo>
                      <a:pt x="191542" y="0"/>
                    </a:lnTo>
                    <a:lnTo>
                      <a:pt x="230922" y="0"/>
                    </a:lnTo>
                    <a:lnTo>
                      <a:pt x="230922" y="241637"/>
                    </a:lnTo>
                    <a:cubicBezTo>
                      <a:pt x="230922" y="316781"/>
                      <a:pt x="183974" y="362724"/>
                      <a:pt x="115528" y="362724"/>
                    </a:cubicBezTo>
                    <a:cubicBezTo>
                      <a:pt x="47082" y="362724"/>
                      <a:pt x="134" y="316781"/>
                      <a:pt x="134" y="241637"/>
                    </a:cubicBezTo>
                    <a:lnTo>
                      <a:pt x="134" y="0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30" name="Forma Livre: Forma 29">
                <a:extLst>
                  <a:ext uri="{FF2B5EF4-FFF2-40B4-BE49-F238E27FC236}">
                    <a16:creationId xmlns:a16="http://schemas.microsoft.com/office/drawing/2014/main" id="{FFC4781F-00E7-4E69-A4EB-8C41E0B2F163}"/>
                  </a:ext>
                </a:extLst>
              </p:cNvPr>
              <p:cNvSpPr/>
              <p:nvPr/>
            </p:nvSpPr>
            <p:spPr>
              <a:xfrm>
                <a:off x="7230784" y="3027364"/>
                <a:ext cx="203395" cy="357633"/>
              </a:xfrm>
              <a:custGeom>
                <a:avLst/>
                <a:gdLst>
                  <a:gd name="connsiteX0" fmla="*/ 0 w 203395"/>
                  <a:gd name="connsiteY0" fmla="*/ 0 h 357633"/>
                  <a:gd name="connsiteX1" fmla="*/ 39380 w 203395"/>
                  <a:gd name="connsiteY1" fmla="*/ 0 h 357633"/>
                  <a:gd name="connsiteX2" fmla="*/ 39380 w 203395"/>
                  <a:gd name="connsiteY2" fmla="*/ 318790 h 357633"/>
                  <a:gd name="connsiteX3" fmla="*/ 203396 w 203395"/>
                  <a:gd name="connsiteY3" fmla="*/ 318790 h 357633"/>
                  <a:gd name="connsiteX4" fmla="*/ 203396 w 203395"/>
                  <a:gd name="connsiteY4" fmla="*/ 357634 h 357633"/>
                  <a:gd name="connsiteX5" fmla="*/ 67 w 203395"/>
                  <a:gd name="connsiteY5" fmla="*/ 357634 h 357633"/>
                  <a:gd name="connsiteX6" fmla="*/ 67 w 203395"/>
                  <a:gd name="connsiteY6" fmla="*/ 0 h 357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3395" h="357633">
                    <a:moveTo>
                      <a:pt x="0" y="0"/>
                    </a:moveTo>
                    <a:lnTo>
                      <a:pt x="39380" y="0"/>
                    </a:lnTo>
                    <a:lnTo>
                      <a:pt x="39380" y="318790"/>
                    </a:lnTo>
                    <a:lnTo>
                      <a:pt x="203396" y="318790"/>
                    </a:lnTo>
                    <a:lnTo>
                      <a:pt x="203396" y="357634"/>
                    </a:lnTo>
                    <a:lnTo>
                      <a:pt x="67" y="357634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31" name="Forma Livre: Forma 30">
                <a:extLst>
                  <a:ext uri="{FF2B5EF4-FFF2-40B4-BE49-F238E27FC236}">
                    <a16:creationId xmlns:a16="http://schemas.microsoft.com/office/drawing/2014/main" id="{94BB3268-50EE-4A25-98F4-E5054CEAE4F5}"/>
                  </a:ext>
                </a:extLst>
              </p:cNvPr>
              <p:cNvSpPr/>
              <p:nvPr/>
            </p:nvSpPr>
            <p:spPr>
              <a:xfrm>
                <a:off x="7477980" y="3023413"/>
                <a:ext cx="230787" cy="367880"/>
              </a:xfrm>
              <a:custGeom>
                <a:avLst/>
                <a:gdLst>
                  <a:gd name="connsiteX0" fmla="*/ 230788 w 230787"/>
                  <a:gd name="connsiteY0" fmla="*/ 246794 h 367880"/>
                  <a:gd name="connsiteX1" fmla="*/ 115394 w 230787"/>
                  <a:gd name="connsiteY1" fmla="*/ 367881 h 367880"/>
                  <a:gd name="connsiteX2" fmla="*/ 0 w 230787"/>
                  <a:gd name="connsiteY2" fmla="*/ 246794 h 367880"/>
                  <a:gd name="connsiteX3" fmla="*/ 0 w 230787"/>
                  <a:gd name="connsiteY3" fmla="*/ 121086 h 367880"/>
                  <a:gd name="connsiteX4" fmla="*/ 115394 w 230787"/>
                  <a:gd name="connsiteY4" fmla="*/ 0 h 367880"/>
                  <a:gd name="connsiteX5" fmla="*/ 230788 w 230787"/>
                  <a:gd name="connsiteY5" fmla="*/ 121086 h 367880"/>
                  <a:gd name="connsiteX6" fmla="*/ 230788 w 230787"/>
                  <a:gd name="connsiteY6" fmla="*/ 246794 h 367880"/>
                  <a:gd name="connsiteX7" fmla="*/ 191609 w 230787"/>
                  <a:gd name="connsiteY7" fmla="*/ 121287 h 367880"/>
                  <a:gd name="connsiteX8" fmla="*/ 115528 w 230787"/>
                  <a:gd name="connsiteY8" fmla="*/ 39045 h 367880"/>
                  <a:gd name="connsiteX9" fmla="*/ 39447 w 230787"/>
                  <a:gd name="connsiteY9" fmla="*/ 121287 h 367880"/>
                  <a:gd name="connsiteX10" fmla="*/ 39447 w 230787"/>
                  <a:gd name="connsiteY10" fmla="*/ 246995 h 367880"/>
                  <a:gd name="connsiteX11" fmla="*/ 115528 w 230787"/>
                  <a:gd name="connsiteY11" fmla="*/ 329238 h 367880"/>
                  <a:gd name="connsiteX12" fmla="*/ 191609 w 230787"/>
                  <a:gd name="connsiteY12" fmla="*/ 246995 h 367880"/>
                  <a:gd name="connsiteX13" fmla="*/ 191609 w 230787"/>
                  <a:gd name="connsiteY13" fmla="*/ 121287 h 36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30787" h="367880">
                    <a:moveTo>
                      <a:pt x="230788" y="246794"/>
                    </a:moveTo>
                    <a:cubicBezTo>
                      <a:pt x="230788" y="321938"/>
                      <a:pt x="183840" y="367881"/>
                      <a:pt x="115394" y="367881"/>
                    </a:cubicBezTo>
                    <a:cubicBezTo>
                      <a:pt x="46948" y="367881"/>
                      <a:pt x="0" y="321938"/>
                      <a:pt x="0" y="246794"/>
                    </a:cubicBezTo>
                    <a:lnTo>
                      <a:pt x="0" y="121086"/>
                    </a:lnTo>
                    <a:cubicBezTo>
                      <a:pt x="0" y="45943"/>
                      <a:pt x="46948" y="0"/>
                      <a:pt x="115394" y="0"/>
                    </a:cubicBezTo>
                    <a:cubicBezTo>
                      <a:pt x="183840" y="0"/>
                      <a:pt x="230788" y="45943"/>
                      <a:pt x="230788" y="121086"/>
                    </a:cubicBezTo>
                    <a:lnTo>
                      <a:pt x="230788" y="246794"/>
                    </a:lnTo>
                    <a:close/>
                    <a:moveTo>
                      <a:pt x="191609" y="121287"/>
                    </a:moveTo>
                    <a:cubicBezTo>
                      <a:pt x="191609" y="67241"/>
                      <a:pt x="157922" y="39045"/>
                      <a:pt x="115528" y="39045"/>
                    </a:cubicBezTo>
                    <a:cubicBezTo>
                      <a:pt x="73134" y="39045"/>
                      <a:pt x="39447" y="67040"/>
                      <a:pt x="39447" y="121287"/>
                    </a:cubicBezTo>
                    <a:lnTo>
                      <a:pt x="39447" y="246995"/>
                    </a:lnTo>
                    <a:cubicBezTo>
                      <a:pt x="39447" y="301042"/>
                      <a:pt x="73134" y="329238"/>
                      <a:pt x="115528" y="329238"/>
                    </a:cubicBezTo>
                    <a:cubicBezTo>
                      <a:pt x="157922" y="329238"/>
                      <a:pt x="191609" y="301243"/>
                      <a:pt x="191609" y="246995"/>
                    </a:cubicBezTo>
                    <a:lnTo>
                      <a:pt x="191609" y="121287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32" name="Forma Livre: Forma 31">
                <a:extLst>
                  <a:ext uri="{FF2B5EF4-FFF2-40B4-BE49-F238E27FC236}">
                    <a16:creationId xmlns:a16="http://schemas.microsoft.com/office/drawing/2014/main" id="{CCF34D61-16FA-41DD-AFD6-958203074E18}"/>
                  </a:ext>
                </a:extLst>
              </p:cNvPr>
              <p:cNvSpPr/>
              <p:nvPr/>
            </p:nvSpPr>
            <p:spPr>
              <a:xfrm>
                <a:off x="6368511" y="3546805"/>
                <a:ext cx="230452" cy="357633"/>
              </a:xfrm>
              <a:custGeom>
                <a:avLst/>
                <a:gdLst>
                  <a:gd name="connsiteX0" fmla="*/ 0 w 230452"/>
                  <a:gd name="connsiteY0" fmla="*/ 38844 h 357633"/>
                  <a:gd name="connsiteX1" fmla="*/ 0 w 230452"/>
                  <a:gd name="connsiteY1" fmla="*/ 0 h 357633"/>
                  <a:gd name="connsiteX2" fmla="*/ 230453 w 230452"/>
                  <a:gd name="connsiteY2" fmla="*/ 0 h 357633"/>
                  <a:gd name="connsiteX3" fmla="*/ 230453 w 230452"/>
                  <a:gd name="connsiteY3" fmla="*/ 38844 h 357633"/>
                  <a:gd name="connsiteX4" fmla="*/ 134883 w 230452"/>
                  <a:gd name="connsiteY4" fmla="*/ 38844 h 357633"/>
                  <a:gd name="connsiteX5" fmla="*/ 134883 w 230452"/>
                  <a:gd name="connsiteY5" fmla="*/ 357634 h 357633"/>
                  <a:gd name="connsiteX6" fmla="*/ 95503 w 230452"/>
                  <a:gd name="connsiteY6" fmla="*/ 357634 h 357633"/>
                  <a:gd name="connsiteX7" fmla="*/ 95503 w 230452"/>
                  <a:gd name="connsiteY7" fmla="*/ 38844 h 357633"/>
                  <a:gd name="connsiteX8" fmla="*/ 0 w 230452"/>
                  <a:gd name="connsiteY8" fmla="*/ 38844 h 357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30452" h="357633">
                    <a:moveTo>
                      <a:pt x="0" y="38844"/>
                    </a:moveTo>
                    <a:lnTo>
                      <a:pt x="0" y="0"/>
                    </a:lnTo>
                    <a:lnTo>
                      <a:pt x="230453" y="0"/>
                    </a:lnTo>
                    <a:lnTo>
                      <a:pt x="230453" y="38844"/>
                    </a:lnTo>
                    <a:lnTo>
                      <a:pt x="134883" y="38844"/>
                    </a:lnTo>
                    <a:lnTo>
                      <a:pt x="134883" y="357634"/>
                    </a:lnTo>
                    <a:lnTo>
                      <a:pt x="95503" y="357634"/>
                    </a:lnTo>
                    <a:lnTo>
                      <a:pt x="95503" y="38844"/>
                    </a:lnTo>
                    <a:cubicBezTo>
                      <a:pt x="95503" y="38844"/>
                      <a:pt x="0" y="38844"/>
                      <a:pt x="0" y="38844"/>
                    </a:cubicBez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33" name="Forma Livre: Forma 32">
                <a:extLst>
                  <a:ext uri="{FF2B5EF4-FFF2-40B4-BE49-F238E27FC236}">
                    <a16:creationId xmlns:a16="http://schemas.microsoft.com/office/drawing/2014/main" id="{F3150354-FB30-4A17-A29C-9E5424A5AE85}"/>
                  </a:ext>
                </a:extLst>
              </p:cNvPr>
              <p:cNvSpPr/>
              <p:nvPr/>
            </p:nvSpPr>
            <p:spPr>
              <a:xfrm>
                <a:off x="6657163" y="3546871"/>
                <a:ext cx="203329" cy="357567"/>
              </a:xfrm>
              <a:custGeom>
                <a:avLst/>
                <a:gdLst>
                  <a:gd name="connsiteX0" fmla="*/ 39313 w 203329"/>
                  <a:gd name="connsiteY0" fmla="*/ 318723 h 357567"/>
                  <a:gd name="connsiteX1" fmla="*/ 203329 w 203329"/>
                  <a:gd name="connsiteY1" fmla="*/ 318723 h 357567"/>
                  <a:gd name="connsiteX2" fmla="*/ 203329 w 203329"/>
                  <a:gd name="connsiteY2" fmla="*/ 357567 h 357567"/>
                  <a:gd name="connsiteX3" fmla="*/ 0 w 203329"/>
                  <a:gd name="connsiteY3" fmla="*/ 357567 h 357567"/>
                  <a:gd name="connsiteX4" fmla="*/ 0 w 203329"/>
                  <a:gd name="connsiteY4" fmla="*/ 0 h 357567"/>
                  <a:gd name="connsiteX5" fmla="*/ 203329 w 203329"/>
                  <a:gd name="connsiteY5" fmla="*/ 0 h 357567"/>
                  <a:gd name="connsiteX6" fmla="*/ 203329 w 203329"/>
                  <a:gd name="connsiteY6" fmla="*/ 38844 h 357567"/>
                  <a:gd name="connsiteX7" fmla="*/ 39313 w 203329"/>
                  <a:gd name="connsiteY7" fmla="*/ 38844 h 357567"/>
                  <a:gd name="connsiteX8" fmla="*/ 39313 w 203329"/>
                  <a:gd name="connsiteY8" fmla="*/ 157252 h 357567"/>
                  <a:gd name="connsiteX9" fmla="*/ 167499 w 203329"/>
                  <a:gd name="connsiteY9" fmla="*/ 157252 h 357567"/>
                  <a:gd name="connsiteX10" fmla="*/ 167499 w 203329"/>
                  <a:gd name="connsiteY10" fmla="*/ 196096 h 357567"/>
                  <a:gd name="connsiteX11" fmla="*/ 39313 w 203329"/>
                  <a:gd name="connsiteY11" fmla="*/ 196096 h 357567"/>
                  <a:gd name="connsiteX12" fmla="*/ 39313 w 203329"/>
                  <a:gd name="connsiteY12" fmla="*/ 318723 h 357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3329" h="357567">
                    <a:moveTo>
                      <a:pt x="39313" y="318723"/>
                    </a:moveTo>
                    <a:lnTo>
                      <a:pt x="203329" y="318723"/>
                    </a:lnTo>
                    <a:lnTo>
                      <a:pt x="203329" y="357567"/>
                    </a:lnTo>
                    <a:lnTo>
                      <a:pt x="0" y="357567"/>
                    </a:lnTo>
                    <a:lnTo>
                      <a:pt x="0" y="0"/>
                    </a:lnTo>
                    <a:lnTo>
                      <a:pt x="203329" y="0"/>
                    </a:lnTo>
                    <a:lnTo>
                      <a:pt x="203329" y="38844"/>
                    </a:lnTo>
                    <a:lnTo>
                      <a:pt x="39313" y="38844"/>
                    </a:lnTo>
                    <a:lnTo>
                      <a:pt x="39313" y="157252"/>
                    </a:lnTo>
                    <a:lnTo>
                      <a:pt x="167499" y="157252"/>
                    </a:lnTo>
                    <a:lnTo>
                      <a:pt x="167499" y="196096"/>
                    </a:lnTo>
                    <a:lnTo>
                      <a:pt x="39313" y="196096"/>
                    </a:lnTo>
                    <a:lnTo>
                      <a:pt x="39313" y="318723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34" name="Forma Livre: Forma 33">
                <a:extLst>
                  <a:ext uri="{FF2B5EF4-FFF2-40B4-BE49-F238E27FC236}">
                    <a16:creationId xmlns:a16="http://schemas.microsoft.com/office/drawing/2014/main" id="{933961D3-CE82-4039-A4E5-E6CDDC0EBBC2}"/>
                  </a:ext>
                </a:extLst>
              </p:cNvPr>
              <p:cNvSpPr/>
              <p:nvPr/>
            </p:nvSpPr>
            <p:spPr>
              <a:xfrm>
                <a:off x="6920232" y="3541715"/>
                <a:ext cx="230252" cy="367880"/>
              </a:xfrm>
              <a:custGeom>
                <a:avLst/>
                <a:gdLst>
                  <a:gd name="connsiteX0" fmla="*/ 230252 w 230252"/>
                  <a:gd name="connsiteY0" fmla="*/ 110907 h 367880"/>
                  <a:gd name="connsiteX1" fmla="*/ 190872 w 230252"/>
                  <a:gd name="connsiteY1" fmla="*/ 110907 h 367880"/>
                  <a:gd name="connsiteX2" fmla="*/ 115327 w 230252"/>
                  <a:gd name="connsiteY2" fmla="*/ 38911 h 367880"/>
                  <a:gd name="connsiteX3" fmla="*/ 39246 w 230252"/>
                  <a:gd name="connsiteY3" fmla="*/ 121153 h 367880"/>
                  <a:gd name="connsiteX4" fmla="*/ 39246 w 230252"/>
                  <a:gd name="connsiteY4" fmla="*/ 246861 h 367880"/>
                  <a:gd name="connsiteX5" fmla="*/ 115327 w 230252"/>
                  <a:gd name="connsiteY5" fmla="*/ 329103 h 367880"/>
                  <a:gd name="connsiteX6" fmla="*/ 190872 w 230252"/>
                  <a:gd name="connsiteY6" fmla="*/ 257108 h 367880"/>
                  <a:gd name="connsiteX7" fmla="*/ 230252 w 230252"/>
                  <a:gd name="connsiteY7" fmla="*/ 257108 h 367880"/>
                  <a:gd name="connsiteX8" fmla="*/ 115394 w 230252"/>
                  <a:gd name="connsiteY8" fmla="*/ 367881 h 367880"/>
                  <a:gd name="connsiteX9" fmla="*/ 0 w 230252"/>
                  <a:gd name="connsiteY9" fmla="*/ 246794 h 367880"/>
                  <a:gd name="connsiteX10" fmla="*/ 0 w 230252"/>
                  <a:gd name="connsiteY10" fmla="*/ 121086 h 367880"/>
                  <a:gd name="connsiteX11" fmla="*/ 115394 w 230252"/>
                  <a:gd name="connsiteY11" fmla="*/ 0 h 367880"/>
                  <a:gd name="connsiteX12" fmla="*/ 230252 w 230252"/>
                  <a:gd name="connsiteY12" fmla="*/ 110907 h 36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0252" h="367880">
                    <a:moveTo>
                      <a:pt x="230252" y="110907"/>
                    </a:moveTo>
                    <a:lnTo>
                      <a:pt x="190872" y="110907"/>
                    </a:lnTo>
                    <a:cubicBezTo>
                      <a:pt x="186787" y="63423"/>
                      <a:pt x="155041" y="38911"/>
                      <a:pt x="115327" y="38911"/>
                    </a:cubicBezTo>
                    <a:cubicBezTo>
                      <a:pt x="72933" y="38911"/>
                      <a:pt x="39246" y="66906"/>
                      <a:pt x="39246" y="121153"/>
                    </a:cubicBezTo>
                    <a:lnTo>
                      <a:pt x="39246" y="246861"/>
                    </a:lnTo>
                    <a:cubicBezTo>
                      <a:pt x="39246" y="300908"/>
                      <a:pt x="72933" y="329103"/>
                      <a:pt x="115327" y="329103"/>
                    </a:cubicBezTo>
                    <a:cubicBezTo>
                      <a:pt x="155243" y="329103"/>
                      <a:pt x="186787" y="304659"/>
                      <a:pt x="190872" y="257108"/>
                    </a:cubicBezTo>
                    <a:lnTo>
                      <a:pt x="230252" y="257108"/>
                    </a:lnTo>
                    <a:cubicBezTo>
                      <a:pt x="226167" y="326090"/>
                      <a:pt x="180759" y="367881"/>
                      <a:pt x="115394" y="367881"/>
                    </a:cubicBezTo>
                    <a:cubicBezTo>
                      <a:pt x="46948" y="367881"/>
                      <a:pt x="0" y="321938"/>
                      <a:pt x="0" y="246794"/>
                    </a:cubicBezTo>
                    <a:lnTo>
                      <a:pt x="0" y="121086"/>
                    </a:lnTo>
                    <a:cubicBezTo>
                      <a:pt x="0" y="45943"/>
                      <a:pt x="46948" y="0"/>
                      <a:pt x="115394" y="0"/>
                    </a:cubicBezTo>
                    <a:cubicBezTo>
                      <a:pt x="180826" y="-67"/>
                      <a:pt x="226167" y="41992"/>
                      <a:pt x="230252" y="110907"/>
                    </a:cubicBez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35" name="Forma Livre: Forma 34">
                <a:extLst>
                  <a:ext uri="{FF2B5EF4-FFF2-40B4-BE49-F238E27FC236}">
                    <a16:creationId xmlns:a16="http://schemas.microsoft.com/office/drawing/2014/main" id="{541B64BE-3164-43FA-8FAA-615FD4414BE5}"/>
                  </a:ext>
                </a:extLst>
              </p:cNvPr>
              <p:cNvSpPr/>
              <p:nvPr/>
            </p:nvSpPr>
            <p:spPr>
              <a:xfrm>
                <a:off x="7218394" y="3546805"/>
                <a:ext cx="231055" cy="357566"/>
              </a:xfrm>
              <a:custGeom>
                <a:avLst/>
                <a:gdLst>
                  <a:gd name="connsiteX0" fmla="*/ 191676 w 231055"/>
                  <a:gd name="connsiteY0" fmla="*/ 0 h 357566"/>
                  <a:gd name="connsiteX1" fmla="*/ 231056 w 231055"/>
                  <a:gd name="connsiteY1" fmla="*/ 0 h 357566"/>
                  <a:gd name="connsiteX2" fmla="*/ 231056 w 231055"/>
                  <a:gd name="connsiteY2" fmla="*/ 357567 h 357566"/>
                  <a:gd name="connsiteX3" fmla="*/ 191676 w 231055"/>
                  <a:gd name="connsiteY3" fmla="*/ 357567 h 357566"/>
                  <a:gd name="connsiteX4" fmla="*/ 191676 w 231055"/>
                  <a:gd name="connsiteY4" fmla="*/ 196230 h 357566"/>
                  <a:gd name="connsiteX5" fmla="*/ 39380 w 231055"/>
                  <a:gd name="connsiteY5" fmla="*/ 196230 h 357566"/>
                  <a:gd name="connsiteX6" fmla="*/ 39380 w 231055"/>
                  <a:gd name="connsiteY6" fmla="*/ 357567 h 357566"/>
                  <a:gd name="connsiteX7" fmla="*/ 0 w 231055"/>
                  <a:gd name="connsiteY7" fmla="*/ 357567 h 357566"/>
                  <a:gd name="connsiteX8" fmla="*/ 0 w 231055"/>
                  <a:gd name="connsiteY8" fmla="*/ 0 h 357566"/>
                  <a:gd name="connsiteX9" fmla="*/ 39380 w 231055"/>
                  <a:gd name="connsiteY9" fmla="*/ 0 h 357566"/>
                  <a:gd name="connsiteX10" fmla="*/ 39380 w 231055"/>
                  <a:gd name="connsiteY10" fmla="*/ 157252 h 357566"/>
                  <a:gd name="connsiteX11" fmla="*/ 191676 w 231055"/>
                  <a:gd name="connsiteY11" fmla="*/ 157252 h 357566"/>
                  <a:gd name="connsiteX12" fmla="*/ 191676 w 231055"/>
                  <a:gd name="connsiteY12" fmla="*/ 0 h 357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1055" h="357566">
                    <a:moveTo>
                      <a:pt x="191676" y="0"/>
                    </a:moveTo>
                    <a:lnTo>
                      <a:pt x="231056" y="0"/>
                    </a:lnTo>
                    <a:lnTo>
                      <a:pt x="231056" y="357567"/>
                    </a:lnTo>
                    <a:lnTo>
                      <a:pt x="191676" y="357567"/>
                    </a:lnTo>
                    <a:lnTo>
                      <a:pt x="191676" y="196230"/>
                    </a:lnTo>
                    <a:lnTo>
                      <a:pt x="39380" y="196230"/>
                    </a:lnTo>
                    <a:lnTo>
                      <a:pt x="39380" y="357567"/>
                    </a:lnTo>
                    <a:lnTo>
                      <a:pt x="0" y="357567"/>
                    </a:lnTo>
                    <a:lnTo>
                      <a:pt x="0" y="0"/>
                    </a:lnTo>
                    <a:lnTo>
                      <a:pt x="39380" y="0"/>
                    </a:lnTo>
                    <a:lnTo>
                      <a:pt x="39380" y="157252"/>
                    </a:lnTo>
                    <a:lnTo>
                      <a:pt x="191676" y="157252"/>
                    </a:lnTo>
                    <a:lnTo>
                      <a:pt x="191676" y="0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36" name="Forma Livre: Forma 35">
                <a:extLst>
                  <a:ext uri="{FF2B5EF4-FFF2-40B4-BE49-F238E27FC236}">
                    <a16:creationId xmlns:a16="http://schemas.microsoft.com/office/drawing/2014/main" id="{C24D21FA-DC78-4B1A-B8AC-CD066D5D481C}"/>
                  </a:ext>
                </a:extLst>
              </p:cNvPr>
              <p:cNvSpPr/>
              <p:nvPr/>
            </p:nvSpPr>
            <p:spPr>
              <a:xfrm>
                <a:off x="6368511" y="4061288"/>
                <a:ext cx="224090" cy="367747"/>
              </a:xfrm>
              <a:custGeom>
                <a:avLst/>
                <a:gdLst>
                  <a:gd name="connsiteX0" fmla="*/ 0 w 224090"/>
                  <a:gd name="connsiteY0" fmla="*/ 256907 h 367747"/>
                  <a:gd name="connsiteX1" fmla="*/ 40451 w 224090"/>
                  <a:gd name="connsiteY1" fmla="*/ 256907 h 367747"/>
                  <a:gd name="connsiteX2" fmla="*/ 115997 w 224090"/>
                  <a:gd name="connsiteY2" fmla="*/ 328903 h 367747"/>
                  <a:gd name="connsiteX3" fmla="*/ 184443 w 224090"/>
                  <a:gd name="connsiteY3" fmla="*/ 272177 h 367747"/>
                  <a:gd name="connsiteX4" fmla="*/ 126645 w 224090"/>
                  <a:gd name="connsiteY4" fmla="*/ 209424 h 367747"/>
                  <a:gd name="connsiteX5" fmla="*/ 81238 w 224090"/>
                  <a:gd name="connsiteY5" fmla="*/ 196632 h 367747"/>
                  <a:gd name="connsiteX6" fmla="*/ 6094 w 224090"/>
                  <a:gd name="connsiteY6" fmla="*/ 95034 h 367747"/>
                  <a:gd name="connsiteX7" fmla="*/ 111777 w 224090"/>
                  <a:gd name="connsiteY7" fmla="*/ 0 h 367747"/>
                  <a:gd name="connsiteX8" fmla="*/ 219536 w 224090"/>
                  <a:gd name="connsiteY8" fmla="*/ 95570 h 367747"/>
                  <a:gd name="connsiteX9" fmla="*/ 179085 w 224090"/>
                  <a:gd name="connsiteY9" fmla="*/ 95570 h 367747"/>
                  <a:gd name="connsiteX10" fmla="*/ 111710 w 224090"/>
                  <a:gd name="connsiteY10" fmla="*/ 38844 h 367747"/>
                  <a:gd name="connsiteX11" fmla="*/ 45742 w 224090"/>
                  <a:gd name="connsiteY11" fmla="*/ 95034 h 367747"/>
                  <a:gd name="connsiteX12" fmla="*/ 98919 w 224090"/>
                  <a:gd name="connsiteY12" fmla="*/ 158323 h 367747"/>
                  <a:gd name="connsiteX13" fmla="*/ 140777 w 224090"/>
                  <a:gd name="connsiteY13" fmla="*/ 170044 h 367747"/>
                  <a:gd name="connsiteX14" fmla="*/ 224091 w 224090"/>
                  <a:gd name="connsiteY14" fmla="*/ 272177 h 367747"/>
                  <a:gd name="connsiteX15" fmla="*/ 115796 w 224090"/>
                  <a:gd name="connsiteY15" fmla="*/ 367747 h 367747"/>
                  <a:gd name="connsiteX16" fmla="*/ 0 w 224090"/>
                  <a:gd name="connsiteY16" fmla="*/ 256907 h 3677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24090" h="367747">
                    <a:moveTo>
                      <a:pt x="0" y="256907"/>
                    </a:moveTo>
                    <a:lnTo>
                      <a:pt x="40451" y="256907"/>
                    </a:lnTo>
                    <a:cubicBezTo>
                      <a:pt x="46680" y="302851"/>
                      <a:pt x="77688" y="328903"/>
                      <a:pt x="115997" y="328903"/>
                    </a:cubicBezTo>
                    <a:cubicBezTo>
                      <a:pt x="156448" y="328903"/>
                      <a:pt x="184443" y="309950"/>
                      <a:pt x="184443" y="272177"/>
                    </a:cubicBezTo>
                    <a:cubicBezTo>
                      <a:pt x="184443" y="239896"/>
                      <a:pt x="167097" y="220608"/>
                      <a:pt x="126645" y="209424"/>
                    </a:cubicBezTo>
                    <a:lnTo>
                      <a:pt x="81238" y="196632"/>
                    </a:lnTo>
                    <a:cubicBezTo>
                      <a:pt x="28062" y="181764"/>
                      <a:pt x="6094" y="138500"/>
                      <a:pt x="6094" y="95034"/>
                    </a:cubicBezTo>
                    <a:cubicBezTo>
                      <a:pt x="6094" y="33687"/>
                      <a:pt x="54650" y="0"/>
                      <a:pt x="111777" y="0"/>
                    </a:cubicBezTo>
                    <a:cubicBezTo>
                      <a:pt x="173660" y="0"/>
                      <a:pt x="211969" y="34759"/>
                      <a:pt x="219536" y="95570"/>
                    </a:cubicBezTo>
                    <a:lnTo>
                      <a:pt x="179085" y="95570"/>
                    </a:lnTo>
                    <a:cubicBezTo>
                      <a:pt x="171450" y="61347"/>
                      <a:pt x="150019" y="38844"/>
                      <a:pt x="111710" y="38844"/>
                    </a:cubicBezTo>
                    <a:cubicBezTo>
                      <a:pt x="68781" y="38844"/>
                      <a:pt x="45742" y="63825"/>
                      <a:pt x="45742" y="95034"/>
                    </a:cubicBezTo>
                    <a:cubicBezTo>
                      <a:pt x="45742" y="127650"/>
                      <a:pt x="62084" y="148211"/>
                      <a:pt x="98919" y="158323"/>
                    </a:cubicBezTo>
                    <a:lnTo>
                      <a:pt x="140777" y="170044"/>
                    </a:lnTo>
                    <a:cubicBezTo>
                      <a:pt x="191274" y="184376"/>
                      <a:pt x="224091" y="215451"/>
                      <a:pt x="224091" y="272177"/>
                    </a:cubicBezTo>
                    <a:cubicBezTo>
                      <a:pt x="224091" y="329439"/>
                      <a:pt x="187389" y="367747"/>
                      <a:pt x="115796" y="367747"/>
                    </a:cubicBezTo>
                    <a:cubicBezTo>
                      <a:pt x="51234" y="367680"/>
                      <a:pt x="5090" y="325353"/>
                      <a:pt x="0" y="256907"/>
                    </a:cubicBez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37" name="Forma Livre: Forma 36">
                <a:extLst>
                  <a:ext uri="{FF2B5EF4-FFF2-40B4-BE49-F238E27FC236}">
                    <a16:creationId xmlns:a16="http://schemas.microsoft.com/office/drawing/2014/main" id="{16636712-F09D-421F-957E-6537D4C2B4CC}"/>
                  </a:ext>
                </a:extLst>
              </p:cNvPr>
              <p:cNvSpPr/>
              <p:nvPr/>
            </p:nvSpPr>
            <p:spPr>
              <a:xfrm>
                <a:off x="6650600" y="4061154"/>
                <a:ext cx="230252" cy="367880"/>
              </a:xfrm>
              <a:custGeom>
                <a:avLst/>
                <a:gdLst>
                  <a:gd name="connsiteX0" fmla="*/ 230252 w 230252"/>
                  <a:gd name="connsiteY0" fmla="*/ 110907 h 367880"/>
                  <a:gd name="connsiteX1" fmla="*/ 190872 w 230252"/>
                  <a:gd name="connsiteY1" fmla="*/ 110907 h 367880"/>
                  <a:gd name="connsiteX2" fmla="*/ 115327 w 230252"/>
                  <a:gd name="connsiteY2" fmla="*/ 38911 h 367880"/>
                  <a:gd name="connsiteX3" fmla="*/ 39246 w 230252"/>
                  <a:gd name="connsiteY3" fmla="*/ 121153 h 367880"/>
                  <a:gd name="connsiteX4" fmla="*/ 39246 w 230252"/>
                  <a:gd name="connsiteY4" fmla="*/ 246861 h 367880"/>
                  <a:gd name="connsiteX5" fmla="*/ 115327 w 230252"/>
                  <a:gd name="connsiteY5" fmla="*/ 329104 h 367880"/>
                  <a:gd name="connsiteX6" fmla="*/ 190872 w 230252"/>
                  <a:gd name="connsiteY6" fmla="*/ 257108 h 367880"/>
                  <a:gd name="connsiteX7" fmla="*/ 230252 w 230252"/>
                  <a:gd name="connsiteY7" fmla="*/ 257108 h 367880"/>
                  <a:gd name="connsiteX8" fmla="*/ 115394 w 230252"/>
                  <a:gd name="connsiteY8" fmla="*/ 367881 h 367880"/>
                  <a:gd name="connsiteX9" fmla="*/ 0 w 230252"/>
                  <a:gd name="connsiteY9" fmla="*/ 246794 h 367880"/>
                  <a:gd name="connsiteX10" fmla="*/ 0 w 230252"/>
                  <a:gd name="connsiteY10" fmla="*/ 121086 h 367880"/>
                  <a:gd name="connsiteX11" fmla="*/ 115394 w 230252"/>
                  <a:gd name="connsiteY11" fmla="*/ 0 h 367880"/>
                  <a:gd name="connsiteX12" fmla="*/ 230252 w 230252"/>
                  <a:gd name="connsiteY12" fmla="*/ 110907 h 36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0252" h="367880">
                    <a:moveTo>
                      <a:pt x="230252" y="110907"/>
                    </a:moveTo>
                    <a:lnTo>
                      <a:pt x="190872" y="110907"/>
                    </a:lnTo>
                    <a:cubicBezTo>
                      <a:pt x="186787" y="63423"/>
                      <a:pt x="155042" y="38911"/>
                      <a:pt x="115327" y="38911"/>
                    </a:cubicBezTo>
                    <a:cubicBezTo>
                      <a:pt x="72933" y="38911"/>
                      <a:pt x="39246" y="66906"/>
                      <a:pt x="39246" y="121153"/>
                    </a:cubicBezTo>
                    <a:lnTo>
                      <a:pt x="39246" y="246861"/>
                    </a:lnTo>
                    <a:cubicBezTo>
                      <a:pt x="39246" y="300908"/>
                      <a:pt x="72933" y="329104"/>
                      <a:pt x="115327" y="329104"/>
                    </a:cubicBezTo>
                    <a:cubicBezTo>
                      <a:pt x="155243" y="329104"/>
                      <a:pt x="186787" y="304659"/>
                      <a:pt x="190872" y="257108"/>
                    </a:cubicBezTo>
                    <a:lnTo>
                      <a:pt x="230252" y="257108"/>
                    </a:lnTo>
                    <a:cubicBezTo>
                      <a:pt x="226167" y="326090"/>
                      <a:pt x="180759" y="367881"/>
                      <a:pt x="115394" y="367881"/>
                    </a:cubicBezTo>
                    <a:cubicBezTo>
                      <a:pt x="46948" y="367881"/>
                      <a:pt x="0" y="321938"/>
                      <a:pt x="0" y="246794"/>
                    </a:cubicBezTo>
                    <a:lnTo>
                      <a:pt x="0" y="121086"/>
                    </a:lnTo>
                    <a:cubicBezTo>
                      <a:pt x="0" y="45943"/>
                      <a:pt x="46948" y="0"/>
                      <a:pt x="115394" y="0"/>
                    </a:cubicBezTo>
                    <a:cubicBezTo>
                      <a:pt x="180759" y="-67"/>
                      <a:pt x="226167" y="41992"/>
                      <a:pt x="230252" y="110907"/>
                    </a:cubicBez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38" name="Forma Livre: Forma 37">
                <a:extLst>
                  <a:ext uri="{FF2B5EF4-FFF2-40B4-BE49-F238E27FC236}">
                    <a16:creationId xmlns:a16="http://schemas.microsoft.com/office/drawing/2014/main" id="{29EEB74E-F575-4A93-92CF-599CD5455C77}"/>
                  </a:ext>
                </a:extLst>
              </p:cNvPr>
              <p:cNvSpPr/>
              <p:nvPr/>
            </p:nvSpPr>
            <p:spPr>
              <a:xfrm>
                <a:off x="6948695" y="4066244"/>
                <a:ext cx="231055" cy="357566"/>
              </a:xfrm>
              <a:custGeom>
                <a:avLst/>
                <a:gdLst>
                  <a:gd name="connsiteX0" fmla="*/ 191676 w 231055"/>
                  <a:gd name="connsiteY0" fmla="*/ 0 h 357566"/>
                  <a:gd name="connsiteX1" fmla="*/ 231056 w 231055"/>
                  <a:gd name="connsiteY1" fmla="*/ 0 h 357566"/>
                  <a:gd name="connsiteX2" fmla="*/ 231056 w 231055"/>
                  <a:gd name="connsiteY2" fmla="*/ 357567 h 357566"/>
                  <a:gd name="connsiteX3" fmla="*/ 191676 w 231055"/>
                  <a:gd name="connsiteY3" fmla="*/ 357567 h 357566"/>
                  <a:gd name="connsiteX4" fmla="*/ 191676 w 231055"/>
                  <a:gd name="connsiteY4" fmla="*/ 196230 h 357566"/>
                  <a:gd name="connsiteX5" fmla="*/ 39380 w 231055"/>
                  <a:gd name="connsiteY5" fmla="*/ 196230 h 357566"/>
                  <a:gd name="connsiteX6" fmla="*/ 39380 w 231055"/>
                  <a:gd name="connsiteY6" fmla="*/ 357567 h 357566"/>
                  <a:gd name="connsiteX7" fmla="*/ 0 w 231055"/>
                  <a:gd name="connsiteY7" fmla="*/ 357567 h 357566"/>
                  <a:gd name="connsiteX8" fmla="*/ 0 w 231055"/>
                  <a:gd name="connsiteY8" fmla="*/ 0 h 357566"/>
                  <a:gd name="connsiteX9" fmla="*/ 39380 w 231055"/>
                  <a:gd name="connsiteY9" fmla="*/ 0 h 357566"/>
                  <a:gd name="connsiteX10" fmla="*/ 39380 w 231055"/>
                  <a:gd name="connsiteY10" fmla="*/ 157252 h 357566"/>
                  <a:gd name="connsiteX11" fmla="*/ 191676 w 231055"/>
                  <a:gd name="connsiteY11" fmla="*/ 157252 h 357566"/>
                  <a:gd name="connsiteX12" fmla="*/ 191676 w 231055"/>
                  <a:gd name="connsiteY12" fmla="*/ 0 h 357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1055" h="357566">
                    <a:moveTo>
                      <a:pt x="191676" y="0"/>
                    </a:moveTo>
                    <a:lnTo>
                      <a:pt x="231056" y="0"/>
                    </a:lnTo>
                    <a:lnTo>
                      <a:pt x="231056" y="357567"/>
                    </a:lnTo>
                    <a:lnTo>
                      <a:pt x="191676" y="357567"/>
                    </a:lnTo>
                    <a:lnTo>
                      <a:pt x="191676" y="196230"/>
                    </a:lnTo>
                    <a:lnTo>
                      <a:pt x="39380" y="196230"/>
                    </a:lnTo>
                    <a:lnTo>
                      <a:pt x="39380" y="357567"/>
                    </a:lnTo>
                    <a:lnTo>
                      <a:pt x="0" y="357567"/>
                    </a:lnTo>
                    <a:lnTo>
                      <a:pt x="0" y="0"/>
                    </a:lnTo>
                    <a:lnTo>
                      <a:pt x="39380" y="0"/>
                    </a:lnTo>
                    <a:lnTo>
                      <a:pt x="39380" y="157252"/>
                    </a:lnTo>
                    <a:lnTo>
                      <a:pt x="191676" y="157252"/>
                    </a:lnTo>
                    <a:lnTo>
                      <a:pt x="191676" y="0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39" name="Forma Livre: Forma 38">
                <a:extLst>
                  <a:ext uri="{FF2B5EF4-FFF2-40B4-BE49-F238E27FC236}">
                    <a16:creationId xmlns:a16="http://schemas.microsoft.com/office/drawing/2014/main" id="{A8556785-F53E-4B1D-884B-F785E0D73708}"/>
                  </a:ext>
                </a:extLst>
              </p:cNvPr>
              <p:cNvSpPr/>
              <p:nvPr/>
            </p:nvSpPr>
            <p:spPr>
              <a:xfrm>
                <a:off x="7249269" y="4061087"/>
                <a:ext cx="230787" cy="367880"/>
              </a:xfrm>
              <a:custGeom>
                <a:avLst/>
                <a:gdLst>
                  <a:gd name="connsiteX0" fmla="*/ 230788 w 230787"/>
                  <a:gd name="connsiteY0" fmla="*/ 246794 h 367880"/>
                  <a:gd name="connsiteX1" fmla="*/ 115394 w 230787"/>
                  <a:gd name="connsiteY1" fmla="*/ 367881 h 367880"/>
                  <a:gd name="connsiteX2" fmla="*/ 0 w 230787"/>
                  <a:gd name="connsiteY2" fmla="*/ 246794 h 367880"/>
                  <a:gd name="connsiteX3" fmla="*/ 0 w 230787"/>
                  <a:gd name="connsiteY3" fmla="*/ 121087 h 367880"/>
                  <a:gd name="connsiteX4" fmla="*/ 115394 w 230787"/>
                  <a:gd name="connsiteY4" fmla="*/ 0 h 367880"/>
                  <a:gd name="connsiteX5" fmla="*/ 230788 w 230787"/>
                  <a:gd name="connsiteY5" fmla="*/ 121087 h 367880"/>
                  <a:gd name="connsiteX6" fmla="*/ 230788 w 230787"/>
                  <a:gd name="connsiteY6" fmla="*/ 246794 h 367880"/>
                  <a:gd name="connsiteX7" fmla="*/ 191475 w 230787"/>
                  <a:gd name="connsiteY7" fmla="*/ 121087 h 367880"/>
                  <a:gd name="connsiteX8" fmla="*/ 115394 w 230787"/>
                  <a:gd name="connsiteY8" fmla="*/ 38844 h 367880"/>
                  <a:gd name="connsiteX9" fmla="*/ 39313 w 230787"/>
                  <a:gd name="connsiteY9" fmla="*/ 121087 h 367880"/>
                  <a:gd name="connsiteX10" fmla="*/ 39313 w 230787"/>
                  <a:gd name="connsiteY10" fmla="*/ 246794 h 367880"/>
                  <a:gd name="connsiteX11" fmla="*/ 115394 w 230787"/>
                  <a:gd name="connsiteY11" fmla="*/ 329037 h 367880"/>
                  <a:gd name="connsiteX12" fmla="*/ 191475 w 230787"/>
                  <a:gd name="connsiteY12" fmla="*/ 246794 h 367880"/>
                  <a:gd name="connsiteX13" fmla="*/ 191475 w 230787"/>
                  <a:gd name="connsiteY13" fmla="*/ 121087 h 36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30787" h="367880">
                    <a:moveTo>
                      <a:pt x="230788" y="246794"/>
                    </a:moveTo>
                    <a:cubicBezTo>
                      <a:pt x="230788" y="321938"/>
                      <a:pt x="183840" y="367881"/>
                      <a:pt x="115394" y="367881"/>
                    </a:cubicBezTo>
                    <a:cubicBezTo>
                      <a:pt x="46948" y="367881"/>
                      <a:pt x="0" y="321938"/>
                      <a:pt x="0" y="246794"/>
                    </a:cubicBezTo>
                    <a:lnTo>
                      <a:pt x="0" y="121087"/>
                    </a:lnTo>
                    <a:cubicBezTo>
                      <a:pt x="0" y="45943"/>
                      <a:pt x="46948" y="0"/>
                      <a:pt x="115394" y="0"/>
                    </a:cubicBezTo>
                    <a:cubicBezTo>
                      <a:pt x="183840" y="0"/>
                      <a:pt x="230788" y="45943"/>
                      <a:pt x="230788" y="121087"/>
                    </a:cubicBezTo>
                    <a:lnTo>
                      <a:pt x="230788" y="246794"/>
                    </a:lnTo>
                    <a:close/>
                    <a:moveTo>
                      <a:pt x="191475" y="121087"/>
                    </a:moveTo>
                    <a:cubicBezTo>
                      <a:pt x="191475" y="67040"/>
                      <a:pt x="157788" y="38844"/>
                      <a:pt x="115394" y="38844"/>
                    </a:cubicBezTo>
                    <a:cubicBezTo>
                      <a:pt x="73000" y="38844"/>
                      <a:pt x="39313" y="66839"/>
                      <a:pt x="39313" y="121087"/>
                    </a:cubicBezTo>
                    <a:lnTo>
                      <a:pt x="39313" y="246794"/>
                    </a:lnTo>
                    <a:cubicBezTo>
                      <a:pt x="39313" y="300841"/>
                      <a:pt x="73000" y="329037"/>
                      <a:pt x="115394" y="329037"/>
                    </a:cubicBezTo>
                    <a:cubicBezTo>
                      <a:pt x="157788" y="329037"/>
                      <a:pt x="191475" y="301042"/>
                      <a:pt x="191475" y="246794"/>
                    </a:cubicBezTo>
                    <a:lnTo>
                      <a:pt x="191475" y="121087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40" name="Forma Livre: Forma 39">
                <a:extLst>
                  <a:ext uri="{FF2B5EF4-FFF2-40B4-BE49-F238E27FC236}">
                    <a16:creationId xmlns:a16="http://schemas.microsoft.com/office/drawing/2014/main" id="{D9789C55-C8A8-43FC-B013-EA6DB81D47EE}"/>
                  </a:ext>
                </a:extLst>
              </p:cNvPr>
              <p:cNvSpPr/>
              <p:nvPr/>
            </p:nvSpPr>
            <p:spPr>
              <a:xfrm>
                <a:off x="7539327" y="4061087"/>
                <a:ext cx="230787" cy="367880"/>
              </a:xfrm>
              <a:custGeom>
                <a:avLst/>
                <a:gdLst>
                  <a:gd name="connsiteX0" fmla="*/ 230788 w 230787"/>
                  <a:gd name="connsiteY0" fmla="*/ 246794 h 367880"/>
                  <a:gd name="connsiteX1" fmla="*/ 115394 w 230787"/>
                  <a:gd name="connsiteY1" fmla="*/ 367881 h 367880"/>
                  <a:gd name="connsiteX2" fmla="*/ 0 w 230787"/>
                  <a:gd name="connsiteY2" fmla="*/ 246794 h 367880"/>
                  <a:gd name="connsiteX3" fmla="*/ 0 w 230787"/>
                  <a:gd name="connsiteY3" fmla="*/ 121087 h 367880"/>
                  <a:gd name="connsiteX4" fmla="*/ 115394 w 230787"/>
                  <a:gd name="connsiteY4" fmla="*/ 0 h 367880"/>
                  <a:gd name="connsiteX5" fmla="*/ 230788 w 230787"/>
                  <a:gd name="connsiteY5" fmla="*/ 121087 h 367880"/>
                  <a:gd name="connsiteX6" fmla="*/ 230788 w 230787"/>
                  <a:gd name="connsiteY6" fmla="*/ 246794 h 367880"/>
                  <a:gd name="connsiteX7" fmla="*/ 191408 w 230787"/>
                  <a:gd name="connsiteY7" fmla="*/ 121087 h 367880"/>
                  <a:gd name="connsiteX8" fmla="*/ 115327 w 230787"/>
                  <a:gd name="connsiteY8" fmla="*/ 38844 h 367880"/>
                  <a:gd name="connsiteX9" fmla="*/ 39246 w 230787"/>
                  <a:gd name="connsiteY9" fmla="*/ 121087 h 367880"/>
                  <a:gd name="connsiteX10" fmla="*/ 39246 w 230787"/>
                  <a:gd name="connsiteY10" fmla="*/ 246794 h 367880"/>
                  <a:gd name="connsiteX11" fmla="*/ 115327 w 230787"/>
                  <a:gd name="connsiteY11" fmla="*/ 329037 h 367880"/>
                  <a:gd name="connsiteX12" fmla="*/ 191408 w 230787"/>
                  <a:gd name="connsiteY12" fmla="*/ 246794 h 367880"/>
                  <a:gd name="connsiteX13" fmla="*/ 191408 w 230787"/>
                  <a:gd name="connsiteY13" fmla="*/ 121087 h 36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30787" h="367880">
                    <a:moveTo>
                      <a:pt x="230788" y="246794"/>
                    </a:moveTo>
                    <a:cubicBezTo>
                      <a:pt x="230788" y="321938"/>
                      <a:pt x="183840" y="367881"/>
                      <a:pt x="115394" y="367881"/>
                    </a:cubicBezTo>
                    <a:cubicBezTo>
                      <a:pt x="46948" y="367881"/>
                      <a:pt x="0" y="321938"/>
                      <a:pt x="0" y="246794"/>
                    </a:cubicBezTo>
                    <a:lnTo>
                      <a:pt x="0" y="121087"/>
                    </a:lnTo>
                    <a:cubicBezTo>
                      <a:pt x="0" y="45943"/>
                      <a:pt x="46948" y="0"/>
                      <a:pt x="115394" y="0"/>
                    </a:cubicBezTo>
                    <a:cubicBezTo>
                      <a:pt x="183840" y="0"/>
                      <a:pt x="230788" y="45943"/>
                      <a:pt x="230788" y="121087"/>
                    </a:cubicBezTo>
                    <a:lnTo>
                      <a:pt x="230788" y="246794"/>
                    </a:lnTo>
                    <a:close/>
                    <a:moveTo>
                      <a:pt x="191408" y="121087"/>
                    </a:moveTo>
                    <a:cubicBezTo>
                      <a:pt x="191408" y="67040"/>
                      <a:pt x="157721" y="38844"/>
                      <a:pt x="115327" y="38844"/>
                    </a:cubicBezTo>
                    <a:cubicBezTo>
                      <a:pt x="72933" y="38844"/>
                      <a:pt x="39246" y="66839"/>
                      <a:pt x="39246" y="121087"/>
                    </a:cubicBezTo>
                    <a:lnTo>
                      <a:pt x="39246" y="246794"/>
                    </a:lnTo>
                    <a:cubicBezTo>
                      <a:pt x="39246" y="300841"/>
                      <a:pt x="72933" y="329037"/>
                      <a:pt x="115327" y="329037"/>
                    </a:cubicBezTo>
                    <a:cubicBezTo>
                      <a:pt x="157721" y="329037"/>
                      <a:pt x="191408" y="301042"/>
                      <a:pt x="191408" y="246794"/>
                    </a:cubicBezTo>
                    <a:lnTo>
                      <a:pt x="191408" y="121087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41" name="Forma Livre: Forma 40">
                <a:extLst>
                  <a:ext uri="{FF2B5EF4-FFF2-40B4-BE49-F238E27FC236}">
                    <a16:creationId xmlns:a16="http://schemas.microsoft.com/office/drawing/2014/main" id="{F5CDE05D-ED0F-4131-9E61-8ACE23719527}"/>
                  </a:ext>
                </a:extLst>
              </p:cNvPr>
              <p:cNvSpPr/>
              <p:nvPr/>
            </p:nvSpPr>
            <p:spPr>
              <a:xfrm>
                <a:off x="7841575" y="4066244"/>
                <a:ext cx="203328" cy="357633"/>
              </a:xfrm>
              <a:custGeom>
                <a:avLst/>
                <a:gdLst>
                  <a:gd name="connsiteX0" fmla="*/ 0 w 203328"/>
                  <a:gd name="connsiteY0" fmla="*/ 0 h 357633"/>
                  <a:gd name="connsiteX1" fmla="*/ 39380 w 203328"/>
                  <a:gd name="connsiteY1" fmla="*/ 0 h 357633"/>
                  <a:gd name="connsiteX2" fmla="*/ 39380 w 203328"/>
                  <a:gd name="connsiteY2" fmla="*/ 318790 h 357633"/>
                  <a:gd name="connsiteX3" fmla="*/ 203329 w 203328"/>
                  <a:gd name="connsiteY3" fmla="*/ 318790 h 357633"/>
                  <a:gd name="connsiteX4" fmla="*/ 203329 w 203328"/>
                  <a:gd name="connsiteY4" fmla="*/ 357634 h 357633"/>
                  <a:gd name="connsiteX5" fmla="*/ 0 w 203328"/>
                  <a:gd name="connsiteY5" fmla="*/ 357634 h 357633"/>
                  <a:gd name="connsiteX6" fmla="*/ 0 w 203328"/>
                  <a:gd name="connsiteY6" fmla="*/ 0 h 357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3328" h="357633">
                    <a:moveTo>
                      <a:pt x="0" y="0"/>
                    </a:moveTo>
                    <a:lnTo>
                      <a:pt x="39380" y="0"/>
                    </a:lnTo>
                    <a:lnTo>
                      <a:pt x="39380" y="318790"/>
                    </a:lnTo>
                    <a:lnTo>
                      <a:pt x="203329" y="318790"/>
                    </a:lnTo>
                    <a:lnTo>
                      <a:pt x="203329" y="357634"/>
                    </a:lnTo>
                    <a:lnTo>
                      <a:pt x="0" y="35763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</p:grpSp>
        <p:grpSp>
          <p:nvGrpSpPr>
            <p:cNvPr id="14" name="Gráfico 3">
              <a:extLst>
                <a:ext uri="{FF2B5EF4-FFF2-40B4-BE49-F238E27FC236}">
                  <a16:creationId xmlns:a16="http://schemas.microsoft.com/office/drawing/2014/main" id="{59DF2139-C840-450B-A1FF-F5EEE31C14FF}"/>
                </a:ext>
              </a:extLst>
            </p:cNvPr>
            <p:cNvGrpSpPr/>
            <p:nvPr/>
          </p:nvGrpSpPr>
          <p:grpSpPr>
            <a:xfrm>
              <a:off x="4147095" y="2502567"/>
              <a:ext cx="1925329" cy="1927272"/>
              <a:chOff x="4147095" y="2502567"/>
              <a:chExt cx="1925329" cy="1927272"/>
            </a:xfrm>
            <a:solidFill>
              <a:srgbClr val="D0D3D4"/>
            </a:solidFill>
          </p:grpSpPr>
          <p:sp>
            <p:nvSpPr>
              <p:cNvPr id="22" name="Forma Livre: Forma 21">
                <a:extLst>
                  <a:ext uri="{FF2B5EF4-FFF2-40B4-BE49-F238E27FC236}">
                    <a16:creationId xmlns:a16="http://schemas.microsoft.com/office/drawing/2014/main" id="{D90A42C8-AA3E-40CB-A524-B36FB0C91723}"/>
                  </a:ext>
                </a:extLst>
              </p:cNvPr>
              <p:cNvSpPr/>
              <p:nvPr/>
            </p:nvSpPr>
            <p:spPr>
              <a:xfrm>
                <a:off x="4625615" y="3946899"/>
                <a:ext cx="482939" cy="482939"/>
              </a:xfrm>
              <a:custGeom>
                <a:avLst/>
                <a:gdLst>
                  <a:gd name="connsiteX0" fmla="*/ 0 w 482939"/>
                  <a:gd name="connsiteY0" fmla="*/ 482940 h 482939"/>
                  <a:gd name="connsiteX1" fmla="*/ 63490 w 482939"/>
                  <a:gd name="connsiteY1" fmla="*/ 482940 h 482939"/>
                  <a:gd name="connsiteX2" fmla="*/ 482940 w 482939"/>
                  <a:gd name="connsiteY2" fmla="*/ 482940 h 482939"/>
                  <a:gd name="connsiteX3" fmla="*/ 482940 w 482939"/>
                  <a:gd name="connsiteY3" fmla="*/ 0 h 482939"/>
                  <a:gd name="connsiteX4" fmla="*/ 0 w 482939"/>
                  <a:gd name="connsiteY4" fmla="*/ 482940 h 4829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2939" h="482939">
                    <a:moveTo>
                      <a:pt x="0" y="482940"/>
                    </a:moveTo>
                    <a:lnTo>
                      <a:pt x="63490" y="482940"/>
                    </a:lnTo>
                    <a:lnTo>
                      <a:pt x="482940" y="482940"/>
                    </a:lnTo>
                    <a:lnTo>
                      <a:pt x="482940" y="0"/>
                    </a:lnTo>
                    <a:cubicBezTo>
                      <a:pt x="482873" y="266685"/>
                      <a:pt x="266618" y="482940"/>
                      <a:pt x="0" y="482940"/>
                    </a:cubicBezTo>
                    <a:close/>
                  </a:path>
                </a:pathLst>
              </a:custGeom>
              <a:solidFill>
                <a:srgbClr val="D0D3D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23" name="Forma Livre: Forma 22">
                <a:extLst>
                  <a:ext uri="{FF2B5EF4-FFF2-40B4-BE49-F238E27FC236}">
                    <a16:creationId xmlns:a16="http://schemas.microsoft.com/office/drawing/2014/main" id="{EF8ED28D-D00E-4BF4-ACF2-1C0EED37E271}"/>
                  </a:ext>
                </a:extLst>
              </p:cNvPr>
              <p:cNvSpPr/>
              <p:nvPr/>
            </p:nvSpPr>
            <p:spPr>
              <a:xfrm>
                <a:off x="4147095" y="2502567"/>
                <a:ext cx="1925329" cy="1927137"/>
              </a:xfrm>
              <a:custGeom>
                <a:avLst/>
                <a:gdLst>
                  <a:gd name="connsiteX0" fmla="*/ 0 w 1925329"/>
                  <a:gd name="connsiteY0" fmla="*/ 0 h 1927137"/>
                  <a:gd name="connsiteX1" fmla="*/ 0 w 1925329"/>
                  <a:gd name="connsiteY1" fmla="*/ 961392 h 1927137"/>
                  <a:gd name="connsiteX2" fmla="*/ 478520 w 1925329"/>
                  <a:gd name="connsiteY2" fmla="*/ 961392 h 1927137"/>
                  <a:gd name="connsiteX3" fmla="*/ 552123 w 1925329"/>
                  <a:gd name="connsiteY3" fmla="*/ 966884 h 1927137"/>
                  <a:gd name="connsiteX4" fmla="*/ 687943 w 1925329"/>
                  <a:gd name="connsiteY4" fmla="*/ 1008876 h 1927137"/>
                  <a:gd name="connsiteX5" fmla="*/ 728863 w 1925329"/>
                  <a:gd name="connsiteY5" fmla="*/ 1031245 h 1927137"/>
                  <a:gd name="connsiteX6" fmla="*/ 785589 w 1925329"/>
                  <a:gd name="connsiteY6" fmla="*/ 1071696 h 1927137"/>
                  <a:gd name="connsiteX7" fmla="*/ 878815 w 1925329"/>
                  <a:gd name="connsiteY7" fmla="*/ 1174366 h 1927137"/>
                  <a:gd name="connsiteX8" fmla="*/ 902925 w 1925329"/>
                  <a:gd name="connsiteY8" fmla="*/ 1214281 h 1927137"/>
                  <a:gd name="connsiteX9" fmla="*/ 923285 w 1925329"/>
                  <a:gd name="connsiteY9" fmla="*/ 1256474 h 1927137"/>
                  <a:gd name="connsiteX10" fmla="*/ 945989 w 1925329"/>
                  <a:gd name="connsiteY10" fmla="*/ 1323648 h 1927137"/>
                  <a:gd name="connsiteX11" fmla="*/ 961259 w 1925329"/>
                  <a:gd name="connsiteY11" fmla="*/ 1444399 h 1927137"/>
                  <a:gd name="connsiteX12" fmla="*/ 961259 w 1925329"/>
                  <a:gd name="connsiteY12" fmla="*/ 1141750 h 1927137"/>
                  <a:gd name="connsiteX13" fmla="*/ 1261765 w 1925329"/>
                  <a:gd name="connsiteY13" fmla="*/ 1141750 h 1927137"/>
                  <a:gd name="connsiteX14" fmla="*/ 1261765 w 1925329"/>
                  <a:gd name="connsiteY14" fmla="*/ 1927138 h 1927137"/>
                  <a:gd name="connsiteX15" fmla="*/ 1925330 w 1925329"/>
                  <a:gd name="connsiteY15" fmla="*/ 1927138 h 1927137"/>
                  <a:gd name="connsiteX16" fmla="*/ 1925330 w 1925329"/>
                  <a:gd name="connsiteY16" fmla="*/ 1927138 h 1927137"/>
                  <a:gd name="connsiteX17" fmla="*/ 1925330 w 1925329"/>
                  <a:gd name="connsiteY17" fmla="*/ 0 h 1927137"/>
                  <a:gd name="connsiteX18" fmla="*/ 0 w 1925329"/>
                  <a:gd name="connsiteY18" fmla="*/ 0 h 1927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25329" h="1927137">
                    <a:moveTo>
                      <a:pt x="0" y="0"/>
                    </a:moveTo>
                    <a:lnTo>
                      <a:pt x="0" y="961392"/>
                    </a:lnTo>
                    <a:lnTo>
                      <a:pt x="478520" y="961392"/>
                    </a:lnTo>
                    <a:cubicBezTo>
                      <a:pt x="503500" y="961392"/>
                      <a:pt x="528146" y="963335"/>
                      <a:pt x="552123" y="966884"/>
                    </a:cubicBezTo>
                    <a:cubicBezTo>
                      <a:pt x="600008" y="974184"/>
                      <a:pt x="645750" y="988516"/>
                      <a:pt x="687943" y="1008876"/>
                    </a:cubicBezTo>
                    <a:cubicBezTo>
                      <a:pt x="701940" y="1015640"/>
                      <a:pt x="715804" y="1023074"/>
                      <a:pt x="728863" y="1031245"/>
                    </a:cubicBezTo>
                    <a:cubicBezTo>
                      <a:pt x="748687" y="1043300"/>
                      <a:pt x="767708" y="1056762"/>
                      <a:pt x="785589" y="1071696"/>
                    </a:cubicBezTo>
                    <a:cubicBezTo>
                      <a:pt x="821420" y="1101298"/>
                      <a:pt x="852763" y="1135856"/>
                      <a:pt x="878815" y="1174366"/>
                    </a:cubicBezTo>
                    <a:cubicBezTo>
                      <a:pt x="887522" y="1187157"/>
                      <a:pt x="895491" y="1200418"/>
                      <a:pt x="902925" y="1214281"/>
                    </a:cubicBezTo>
                    <a:cubicBezTo>
                      <a:pt x="910359" y="1227944"/>
                      <a:pt x="917124" y="1242142"/>
                      <a:pt x="923285" y="1256474"/>
                    </a:cubicBezTo>
                    <a:cubicBezTo>
                      <a:pt x="932527" y="1278106"/>
                      <a:pt x="940095" y="1300609"/>
                      <a:pt x="945989" y="1323648"/>
                    </a:cubicBezTo>
                    <a:cubicBezTo>
                      <a:pt x="955901" y="1362291"/>
                      <a:pt x="961259" y="1402742"/>
                      <a:pt x="961259" y="1444399"/>
                    </a:cubicBezTo>
                    <a:lnTo>
                      <a:pt x="961259" y="1141750"/>
                    </a:lnTo>
                    <a:lnTo>
                      <a:pt x="1261765" y="1141750"/>
                    </a:lnTo>
                    <a:lnTo>
                      <a:pt x="1261765" y="1927138"/>
                    </a:lnTo>
                    <a:lnTo>
                      <a:pt x="1925330" y="1927138"/>
                    </a:lnTo>
                    <a:lnTo>
                      <a:pt x="1925330" y="1927138"/>
                    </a:lnTo>
                    <a:lnTo>
                      <a:pt x="192533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0D3D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</p:grpSp>
        <p:sp>
          <p:nvSpPr>
            <p:cNvPr id="17" name="Forma Livre: Forma 16">
              <a:extLst>
                <a:ext uri="{FF2B5EF4-FFF2-40B4-BE49-F238E27FC236}">
                  <a16:creationId xmlns:a16="http://schemas.microsoft.com/office/drawing/2014/main" id="{F683E82F-16EB-402F-B956-26BA8A335923}"/>
                </a:ext>
              </a:extLst>
            </p:cNvPr>
            <p:cNvSpPr/>
            <p:nvPr/>
          </p:nvSpPr>
          <p:spPr>
            <a:xfrm>
              <a:off x="5108488" y="3644317"/>
              <a:ext cx="300506" cy="785388"/>
            </a:xfrm>
            <a:custGeom>
              <a:avLst/>
              <a:gdLst>
                <a:gd name="connsiteX0" fmla="*/ 0 w 300506"/>
                <a:gd name="connsiteY0" fmla="*/ 0 h 785388"/>
                <a:gd name="connsiteX1" fmla="*/ 300506 w 300506"/>
                <a:gd name="connsiteY1" fmla="*/ 0 h 785388"/>
                <a:gd name="connsiteX2" fmla="*/ 300506 w 300506"/>
                <a:gd name="connsiteY2" fmla="*/ 785389 h 785388"/>
                <a:gd name="connsiteX3" fmla="*/ 0 w 300506"/>
                <a:gd name="connsiteY3" fmla="*/ 785389 h 78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0506" h="785388">
                  <a:moveTo>
                    <a:pt x="0" y="0"/>
                  </a:moveTo>
                  <a:lnTo>
                    <a:pt x="300506" y="0"/>
                  </a:lnTo>
                  <a:lnTo>
                    <a:pt x="300506" y="785389"/>
                  </a:lnTo>
                  <a:lnTo>
                    <a:pt x="0" y="785389"/>
                  </a:lnTo>
                  <a:close/>
                </a:path>
              </a:pathLst>
            </a:custGeom>
            <a:solidFill>
              <a:srgbClr val="1F2A44"/>
            </a:solidFill>
            <a:ln w="66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18" name="Forma Livre: Forma 17">
              <a:extLst>
                <a:ext uri="{FF2B5EF4-FFF2-40B4-BE49-F238E27FC236}">
                  <a16:creationId xmlns:a16="http://schemas.microsoft.com/office/drawing/2014/main" id="{6AF93B0F-7B04-44F9-A131-8FEE9E6F891A}"/>
                </a:ext>
              </a:extLst>
            </p:cNvPr>
            <p:cNvSpPr/>
            <p:nvPr/>
          </p:nvSpPr>
          <p:spPr>
            <a:xfrm>
              <a:off x="4147095" y="2502299"/>
              <a:ext cx="960856" cy="961660"/>
            </a:xfrm>
            <a:custGeom>
              <a:avLst/>
              <a:gdLst>
                <a:gd name="connsiteX0" fmla="*/ 0 w 960856"/>
                <a:gd name="connsiteY0" fmla="*/ 268 h 961660"/>
                <a:gd name="connsiteX1" fmla="*/ 0 w 960856"/>
                <a:gd name="connsiteY1" fmla="*/ 961660 h 961660"/>
                <a:gd name="connsiteX2" fmla="*/ 480797 w 960856"/>
                <a:gd name="connsiteY2" fmla="*/ 961660 h 961660"/>
                <a:gd name="connsiteX3" fmla="*/ 60074 w 960856"/>
                <a:gd name="connsiteY3" fmla="*/ 540938 h 961660"/>
                <a:gd name="connsiteX4" fmla="*/ 480797 w 960856"/>
                <a:gd name="connsiteY4" fmla="*/ 119144 h 961660"/>
                <a:gd name="connsiteX5" fmla="*/ 960857 w 960856"/>
                <a:gd name="connsiteY5" fmla="*/ 119144 h 961660"/>
                <a:gd name="connsiteX6" fmla="*/ 960857 w 960856"/>
                <a:gd name="connsiteY6" fmla="*/ 0 h 961660"/>
                <a:gd name="connsiteX7" fmla="*/ 0 w 960856"/>
                <a:gd name="connsiteY7" fmla="*/ 0 h 961660"/>
                <a:gd name="connsiteX8" fmla="*/ 0 w 960856"/>
                <a:gd name="connsiteY8" fmla="*/ 268 h 961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0856" h="961660">
                  <a:moveTo>
                    <a:pt x="0" y="268"/>
                  </a:moveTo>
                  <a:lnTo>
                    <a:pt x="0" y="961660"/>
                  </a:lnTo>
                  <a:lnTo>
                    <a:pt x="480797" y="961660"/>
                  </a:lnTo>
                  <a:cubicBezTo>
                    <a:pt x="248535" y="961660"/>
                    <a:pt x="60074" y="773400"/>
                    <a:pt x="60074" y="540938"/>
                  </a:cubicBezTo>
                  <a:cubicBezTo>
                    <a:pt x="60074" y="308476"/>
                    <a:pt x="248335" y="119144"/>
                    <a:pt x="480797" y="119144"/>
                  </a:cubicBezTo>
                  <a:lnTo>
                    <a:pt x="960857" y="119144"/>
                  </a:lnTo>
                  <a:lnTo>
                    <a:pt x="960857" y="0"/>
                  </a:lnTo>
                  <a:lnTo>
                    <a:pt x="0" y="0"/>
                  </a:lnTo>
                  <a:lnTo>
                    <a:pt x="0" y="268"/>
                  </a:lnTo>
                  <a:close/>
                </a:path>
              </a:pathLst>
            </a:custGeom>
            <a:solidFill>
              <a:srgbClr val="1F2A44"/>
            </a:solidFill>
            <a:ln w="66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19" name="Forma Livre: Forma 18">
              <a:extLst>
                <a:ext uri="{FF2B5EF4-FFF2-40B4-BE49-F238E27FC236}">
                  <a16:creationId xmlns:a16="http://schemas.microsoft.com/office/drawing/2014/main" id="{DD144F83-0346-421F-B19D-04DD6D5BDF4B}"/>
                </a:ext>
              </a:extLst>
            </p:cNvPr>
            <p:cNvSpPr/>
            <p:nvPr/>
          </p:nvSpPr>
          <p:spPr>
            <a:xfrm>
              <a:off x="4147095" y="3463959"/>
              <a:ext cx="961459" cy="965678"/>
            </a:xfrm>
            <a:custGeom>
              <a:avLst/>
              <a:gdLst>
                <a:gd name="connsiteX0" fmla="*/ 923486 w 961459"/>
                <a:gd name="connsiteY0" fmla="*/ 295082 h 965678"/>
                <a:gd name="connsiteX1" fmla="*/ 903126 w 961459"/>
                <a:gd name="connsiteY1" fmla="*/ 252889 h 965678"/>
                <a:gd name="connsiteX2" fmla="*/ 879016 w 961459"/>
                <a:gd name="connsiteY2" fmla="*/ 212973 h 965678"/>
                <a:gd name="connsiteX3" fmla="*/ 785790 w 961459"/>
                <a:gd name="connsiteY3" fmla="*/ 110304 h 965678"/>
                <a:gd name="connsiteX4" fmla="*/ 729064 w 961459"/>
                <a:gd name="connsiteY4" fmla="*/ 69853 h 965678"/>
                <a:gd name="connsiteX5" fmla="*/ 688144 w 961459"/>
                <a:gd name="connsiteY5" fmla="*/ 47484 h 965678"/>
                <a:gd name="connsiteX6" fmla="*/ 552324 w 961459"/>
                <a:gd name="connsiteY6" fmla="*/ 5492 h 965678"/>
                <a:gd name="connsiteX7" fmla="*/ 478721 w 961459"/>
                <a:gd name="connsiteY7" fmla="*/ 0 h 965678"/>
                <a:gd name="connsiteX8" fmla="*/ 0 w 961459"/>
                <a:gd name="connsiteY8" fmla="*/ 0 h 965678"/>
                <a:gd name="connsiteX9" fmla="*/ 0 w 961459"/>
                <a:gd name="connsiteY9" fmla="*/ 965679 h 965678"/>
                <a:gd name="connsiteX10" fmla="*/ 478520 w 961459"/>
                <a:gd name="connsiteY10" fmla="*/ 965679 h 965678"/>
                <a:gd name="connsiteX11" fmla="*/ 961459 w 961459"/>
                <a:gd name="connsiteY11" fmla="*/ 482739 h 965678"/>
                <a:gd name="connsiteX12" fmla="*/ 946190 w 961459"/>
                <a:gd name="connsiteY12" fmla="*/ 361988 h 965678"/>
                <a:gd name="connsiteX13" fmla="*/ 923486 w 961459"/>
                <a:gd name="connsiteY13" fmla="*/ 295082 h 965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61459" h="965678">
                  <a:moveTo>
                    <a:pt x="923486" y="295082"/>
                  </a:moveTo>
                  <a:cubicBezTo>
                    <a:pt x="917458" y="280750"/>
                    <a:pt x="910560" y="266552"/>
                    <a:pt x="903126" y="252889"/>
                  </a:cubicBezTo>
                  <a:cubicBezTo>
                    <a:pt x="895692" y="239227"/>
                    <a:pt x="887723" y="225966"/>
                    <a:pt x="879016" y="212973"/>
                  </a:cubicBezTo>
                  <a:cubicBezTo>
                    <a:pt x="852964" y="174531"/>
                    <a:pt x="821554" y="139906"/>
                    <a:pt x="785790" y="110304"/>
                  </a:cubicBezTo>
                  <a:cubicBezTo>
                    <a:pt x="767909" y="95570"/>
                    <a:pt x="748888" y="82109"/>
                    <a:pt x="729064" y="69853"/>
                  </a:cubicBezTo>
                  <a:cubicBezTo>
                    <a:pt x="715737" y="61883"/>
                    <a:pt x="702141" y="54449"/>
                    <a:pt x="688144" y="47484"/>
                  </a:cubicBezTo>
                  <a:cubicBezTo>
                    <a:pt x="645951" y="27124"/>
                    <a:pt x="600209" y="12725"/>
                    <a:pt x="552324" y="5492"/>
                  </a:cubicBezTo>
                  <a:cubicBezTo>
                    <a:pt x="528414" y="1741"/>
                    <a:pt x="503768" y="0"/>
                    <a:pt x="478721" y="0"/>
                  </a:cubicBezTo>
                  <a:lnTo>
                    <a:pt x="0" y="0"/>
                  </a:lnTo>
                  <a:lnTo>
                    <a:pt x="0" y="965679"/>
                  </a:lnTo>
                  <a:lnTo>
                    <a:pt x="478520" y="965679"/>
                  </a:lnTo>
                  <a:cubicBezTo>
                    <a:pt x="745138" y="965679"/>
                    <a:pt x="961459" y="749558"/>
                    <a:pt x="961459" y="482739"/>
                  </a:cubicBezTo>
                  <a:cubicBezTo>
                    <a:pt x="961459" y="441082"/>
                    <a:pt x="956169" y="400630"/>
                    <a:pt x="946190" y="361988"/>
                  </a:cubicBezTo>
                  <a:cubicBezTo>
                    <a:pt x="940162" y="339217"/>
                    <a:pt x="932527" y="316714"/>
                    <a:pt x="923486" y="295082"/>
                  </a:cubicBezTo>
                  <a:close/>
                </a:path>
              </a:pathLst>
            </a:custGeom>
            <a:solidFill>
              <a:srgbClr val="63B1BC"/>
            </a:solidFill>
            <a:ln w="66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20" name="Forma Livre: Forma 19">
              <a:extLst>
                <a:ext uri="{FF2B5EF4-FFF2-40B4-BE49-F238E27FC236}">
                  <a16:creationId xmlns:a16="http://schemas.microsoft.com/office/drawing/2014/main" id="{A91C7BEC-6651-4B78-A627-B1045692EBCA}"/>
                </a:ext>
              </a:extLst>
            </p:cNvPr>
            <p:cNvSpPr/>
            <p:nvPr/>
          </p:nvSpPr>
          <p:spPr>
            <a:xfrm>
              <a:off x="5107952" y="2502567"/>
              <a:ext cx="964607" cy="961392"/>
            </a:xfrm>
            <a:custGeom>
              <a:avLst/>
              <a:gdLst>
                <a:gd name="connsiteX0" fmla="*/ 480462 w 964607"/>
                <a:gd name="connsiteY0" fmla="*/ 119144 h 961392"/>
                <a:gd name="connsiteX1" fmla="*/ 901854 w 964607"/>
                <a:gd name="connsiteY1" fmla="*/ 540536 h 961392"/>
                <a:gd name="connsiteX2" fmla="*/ 499214 w 964607"/>
                <a:gd name="connsiteY2" fmla="*/ 961392 h 961392"/>
                <a:gd name="connsiteX3" fmla="*/ 964607 w 964607"/>
                <a:gd name="connsiteY3" fmla="*/ 961392 h 961392"/>
                <a:gd name="connsiteX4" fmla="*/ 964607 w 964607"/>
                <a:gd name="connsiteY4" fmla="*/ 0 h 961392"/>
                <a:gd name="connsiteX5" fmla="*/ 0 w 964607"/>
                <a:gd name="connsiteY5" fmla="*/ 0 h 961392"/>
                <a:gd name="connsiteX6" fmla="*/ 0 w 964607"/>
                <a:gd name="connsiteY6" fmla="*/ 119144 h 961392"/>
                <a:gd name="connsiteX7" fmla="*/ 480462 w 964607"/>
                <a:gd name="connsiteY7" fmla="*/ 119144 h 961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64607" h="961392">
                  <a:moveTo>
                    <a:pt x="480462" y="119144"/>
                  </a:moveTo>
                  <a:cubicBezTo>
                    <a:pt x="713259" y="119144"/>
                    <a:pt x="901854" y="307806"/>
                    <a:pt x="901854" y="540536"/>
                  </a:cubicBezTo>
                  <a:cubicBezTo>
                    <a:pt x="901854" y="766904"/>
                    <a:pt x="723305" y="951682"/>
                    <a:pt x="499214" y="961392"/>
                  </a:cubicBezTo>
                  <a:lnTo>
                    <a:pt x="964607" y="961392"/>
                  </a:lnTo>
                  <a:lnTo>
                    <a:pt x="964607" y="0"/>
                  </a:lnTo>
                  <a:lnTo>
                    <a:pt x="0" y="0"/>
                  </a:lnTo>
                  <a:lnTo>
                    <a:pt x="0" y="119144"/>
                  </a:lnTo>
                  <a:lnTo>
                    <a:pt x="480462" y="119144"/>
                  </a:lnTo>
                  <a:close/>
                </a:path>
              </a:pathLst>
            </a:custGeom>
            <a:solidFill>
              <a:srgbClr val="63B1BC"/>
            </a:solidFill>
            <a:ln w="66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21" name="Forma Livre: Forma 20">
              <a:extLst>
                <a:ext uri="{FF2B5EF4-FFF2-40B4-BE49-F238E27FC236}">
                  <a16:creationId xmlns:a16="http://schemas.microsoft.com/office/drawing/2014/main" id="{909F2BDC-A282-40DD-BDD4-65EF2D58B0A1}"/>
                </a:ext>
              </a:extLst>
            </p:cNvPr>
            <p:cNvSpPr/>
            <p:nvPr/>
          </p:nvSpPr>
          <p:spPr>
            <a:xfrm>
              <a:off x="5107952" y="2621778"/>
              <a:ext cx="901853" cy="842783"/>
            </a:xfrm>
            <a:custGeom>
              <a:avLst/>
              <a:gdLst>
                <a:gd name="connsiteX0" fmla="*/ 0 w 901853"/>
                <a:gd name="connsiteY0" fmla="*/ 842784 h 842783"/>
                <a:gd name="connsiteX1" fmla="*/ 480462 w 901853"/>
                <a:gd name="connsiteY1" fmla="*/ 842784 h 842783"/>
                <a:gd name="connsiteX2" fmla="*/ 901854 w 901853"/>
                <a:gd name="connsiteY2" fmla="*/ 421392 h 842783"/>
                <a:gd name="connsiteX3" fmla="*/ 480462 w 901853"/>
                <a:gd name="connsiteY3" fmla="*/ 0 h 842783"/>
                <a:gd name="connsiteX4" fmla="*/ 0 w 901853"/>
                <a:gd name="connsiteY4" fmla="*/ 0 h 842783"/>
                <a:gd name="connsiteX5" fmla="*/ 0 w 901853"/>
                <a:gd name="connsiteY5" fmla="*/ 842784 h 842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01853" h="842783">
                  <a:moveTo>
                    <a:pt x="0" y="842784"/>
                  </a:moveTo>
                  <a:lnTo>
                    <a:pt x="480462" y="842784"/>
                  </a:lnTo>
                  <a:cubicBezTo>
                    <a:pt x="713259" y="842784"/>
                    <a:pt x="901854" y="654122"/>
                    <a:pt x="901854" y="421392"/>
                  </a:cubicBezTo>
                  <a:cubicBezTo>
                    <a:pt x="901854" y="188662"/>
                    <a:pt x="713192" y="0"/>
                    <a:pt x="480462" y="0"/>
                  </a:cubicBezTo>
                  <a:lnTo>
                    <a:pt x="0" y="0"/>
                  </a:lnTo>
                  <a:lnTo>
                    <a:pt x="0" y="842784"/>
                  </a:lnTo>
                  <a:close/>
                </a:path>
              </a:pathLst>
            </a:custGeom>
            <a:solidFill>
              <a:srgbClr val="1F2A44"/>
            </a:solidFill>
            <a:ln w="66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</p:grpSp>
    </p:spTree>
    <p:extLst>
      <p:ext uri="{BB962C8B-B14F-4D97-AF65-F5344CB8AC3E}">
        <p14:creationId xmlns:p14="http://schemas.microsoft.com/office/powerpoint/2010/main" val="5650330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cerramento Escu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áfico 13">
            <a:extLst>
              <a:ext uri="{FF2B5EF4-FFF2-40B4-BE49-F238E27FC236}">
                <a16:creationId xmlns:a16="http://schemas.microsoft.com/office/drawing/2014/main" id="{74BEF64D-18A4-48E9-A977-19AAF603D209}"/>
              </a:ext>
            </a:extLst>
          </p:cNvPr>
          <p:cNvGrpSpPr/>
          <p:nvPr userDrawn="1"/>
        </p:nvGrpSpPr>
        <p:grpSpPr>
          <a:xfrm>
            <a:off x="0" y="0"/>
            <a:ext cx="13442950" cy="7561263"/>
            <a:chOff x="0" y="0"/>
            <a:chExt cx="12192000" cy="6858000"/>
          </a:xfrm>
        </p:grpSpPr>
        <p:sp>
          <p:nvSpPr>
            <p:cNvPr id="56" name="Forma Livre: Forma 55">
              <a:extLst>
                <a:ext uri="{FF2B5EF4-FFF2-40B4-BE49-F238E27FC236}">
                  <a16:creationId xmlns:a16="http://schemas.microsoft.com/office/drawing/2014/main" id="{202C9818-9C2F-49AC-B1B9-D5196959660F}"/>
                </a:ext>
              </a:extLst>
            </p:cNvPr>
            <p:cNvSpPr/>
            <p:nvPr/>
          </p:nvSpPr>
          <p:spPr>
            <a:xfrm>
              <a:off x="0" y="0"/>
              <a:ext cx="12192000" cy="6858000"/>
            </a:xfrm>
            <a:custGeom>
              <a:avLst/>
              <a:gdLst>
                <a:gd name="connsiteX0" fmla="*/ 0 w 12192000"/>
                <a:gd name="connsiteY0" fmla="*/ 0 h 6858000"/>
                <a:gd name="connsiteX1" fmla="*/ 12192000 w 12192000"/>
                <a:gd name="connsiteY1" fmla="*/ 0 h 6858000"/>
                <a:gd name="connsiteX2" fmla="*/ 12192000 w 12192000"/>
                <a:gd name="connsiteY2" fmla="*/ 6858000 h 6858000"/>
                <a:gd name="connsiteX3" fmla="*/ 0 w 12192000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92000" h="6858000">
                  <a:moveTo>
                    <a:pt x="0" y="0"/>
                  </a:moveTo>
                  <a:lnTo>
                    <a:pt x="12192000" y="0"/>
                  </a:lnTo>
                  <a:lnTo>
                    <a:pt x="1219200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1C253C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 dirty="0"/>
            </a:p>
          </p:txBody>
        </p:sp>
        <p:grpSp>
          <p:nvGrpSpPr>
            <p:cNvPr id="57" name="Gráfico 13">
              <a:extLst>
                <a:ext uri="{FF2B5EF4-FFF2-40B4-BE49-F238E27FC236}">
                  <a16:creationId xmlns:a16="http://schemas.microsoft.com/office/drawing/2014/main" id="{272348FE-6D97-409C-825D-CE8407BCD14C}"/>
                </a:ext>
              </a:extLst>
            </p:cNvPr>
            <p:cNvGrpSpPr/>
            <p:nvPr/>
          </p:nvGrpSpPr>
          <p:grpSpPr>
            <a:xfrm>
              <a:off x="0" y="0"/>
              <a:ext cx="12192000" cy="6858000"/>
              <a:chOff x="0" y="0"/>
              <a:chExt cx="12192000" cy="6858000"/>
            </a:xfrm>
            <a:solidFill>
              <a:srgbClr val="172033"/>
            </a:solidFill>
          </p:grpSpPr>
          <p:sp>
            <p:nvSpPr>
              <p:cNvPr id="58" name="Forma Livre: Forma 57">
                <a:extLst>
                  <a:ext uri="{FF2B5EF4-FFF2-40B4-BE49-F238E27FC236}">
                    <a16:creationId xmlns:a16="http://schemas.microsoft.com/office/drawing/2014/main" id="{79E37BE1-D91E-4734-B364-612371A79FDB}"/>
                  </a:ext>
                </a:extLst>
              </p:cNvPr>
              <p:cNvSpPr/>
              <p:nvPr/>
            </p:nvSpPr>
            <p:spPr>
              <a:xfrm>
                <a:off x="7933055" y="2259329"/>
                <a:ext cx="4258944" cy="4598035"/>
              </a:xfrm>
              <a:custGeom>
                <a:avLst/>
                <a:gdLst>
                  <a:gd name="connsiteX0" fmla="*/ 0 w 4258944"/>
                  <a:gd name="connsiteY0" fmla="*/ 1483995 h 4598035"/>
                  <a:gd name="connsiteX1" fmla="*/ 1494155 w 4258944"/>
                  <a:gd name="connsiteY1" fmla="*/ 2889250 h 4598035"/>
                  <a:gd name="connsiteX2" fmla="*/ 1494155 w 4258944"/>
                  <a:gd name="connsiteY2" fmla="*/ 2889250 h 4598035"/>
                  <a:gd name="connsiteX3" fmla="*/ 1494155 w 4258944"/>
                  <a:gd name="connsiteY3" fmla="*/ 2889250 h 4598035"/>
                  <a:gd name="connsiteX4" fmla="*/ 3310890 w 4258944"/>
                  <a:gd name="connsiteY4" fmla="*/ 4598035 h 4598035"/>
                  <a:gd name="connsiteX5" fmla="*/ 4258945 w 4258944"/>
                  <a:gd name="connsiteY5" fmla="*/ 4598035 h 4598035"/>
                  <a:gd name="connsiteX6" fmla="*/ 4258945 w 4258944"/>
                  <a:gd name="connsiteY6" fmla="*/ 2693035 h 4598035"/>
                  <a:gd name="connsiteX7" fmla="*/ 1395730 w 4258944"/>
                  <a:gd name="connsiteY7" fmla="*/ 0 h 4598035"/>
                  <a:gd name="connsiteX8" fmla="*/ 0 w 4258944"/>
                  <a:gd name="connsiteY8" fmla="*/ 1483995 h 45980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258944" h="4598035">
                    <a:moveTo>
                      <a:pt x="0" y="1483995"/>
                    </a:moveTo>
                    <a:lnTo>
                      <a:pt x="1494155" y="2889250"/>
                    </a:lnTo>
                    <a:cubicBezTo>
                      <a:pt x="1494155" y="2889250"/>
                      <a:pt x="1494155" y="2889250"/>
                      <a:pt x="1494155" y="2889250"/>
                    </a:cubicBezTo>
                    <a:cubicBezTo>
                      <a:pt x="1494155" y="2889250"/>
                      <a:pt x="1494155" y="2889250"/>
                      <a:pt x="1494155" y="2889250"/>
                    </a:cubicBezTo>
                    <a:lnTo>
                      <a:pt x="3310890" y="4598035"/>
                    </a:lnTo>
                    <a:lnTo>
                      <a:pt x="4258945" y="4598035"/>
                    </a:lnTo>
                    <a:lnTo>
                      <a:pt x="4258945" y="2693035"/>
                    </a:lnTo>
                    <a:lnTo>
                      <a:pt x="1395730" y="0"/>
                    </a:lnTo>
                    <a:lnTo>
                      <a:pt x="0" y="1483995"/>
                    </a:ln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59" name="Forma Livre: Forma 58">
                <a:extLst>
                  <a:ext uri="{FF2B5EF4-FFF2-40B4-BE49-F238E27FC236}">
                    <a16:creationId xmlns:a16="http://schemas.microsoft.com/office/drawing/2014/main" id="{C27F5AF5-5478-45B4-A324-75A4FE461DE6}"/>
                  </a:ext>
                </a:extLst>
              </p:cNvPr>
              <p:cNvSpPr/>
              <p:nvPr/>
            </p:nvSpPr>
            <p:spPr>
              <a:xfrm>
                <a:off x="0" y="0"/>
                <a:ext cx="1935479" cy="2488564"/>
              </a:xfrm>
              <a:custGeom>
                <a:avLst/>
                <a:gdLst>
                  <a:gd name="connsiteX0" fmla="*/ 826770 w 1935479"/>
                  <a:gd name="connsiteY0" fmla="*/ 0 h 2488564"/>
                  <a:gd name="connsiteX1" fmla="*/ 0 w 1935479"/>
                  <a:gd name="connsiteY1" fmla="*/ 0 h 2488564"/>
                  <a:gd name="connsiteX2" fmla="*/ 0 w 1935479"/>
                  <a:gd name="connsiteY2" fmla="*/ 878840 h 2488564"/>
                  <a:gd name="connsiteX3" fmla="*/ 0 w 1935479"/>
                  <a:gd name="connsiteY3" fmla="*/ 2488565 h 2488564"/>
                  <a:gd name="connsiteX4" fmla="*/ 649605 w 1935479"/>
                  <a:gd name="connsiteY4" fmla="*/ 1367155 h 2488564"/>
                  <a:gd name="connsiteX5" fmla="*/ 1935480 w 1935479"/>
                  <a:gd name="connsiteY5" fmla="*/ 0 h 2488564"/>
                  <a:gd name="connsiteX6" fmla="*/ 826770 w 1935479"/>
                  <a:gd name="connsiteY6" fmla="*/ 0 h 24885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35479" h="2488564">
                    <a:moveTo>
                      <a:pt x="826770" y="0"/>
                    </a:moveTo>
                    <a:lnTo>
                      <a:pt x="0" y="0"/>
                    </a:lnTo>
                    <a:lnTo>
                      <a:pt x="0" y="878840"/>
                    </a:lnTo>
                    <a:lnTo>
                      <a:pt x="0" y="2488565"/>
                    </a:lnTo>
                    <a:cubicBezTo>
                      <a:pt x="123190" y="2082165"/>
                      <a:pt x="339090" y="1697355"/>
                      <a:pt x="649605" y="1367155"/>
                    </a:cubicBezTo>
                    <a:lnTo>
                      <a:pt x="1935480" y="0"/>
                    </a:lnTo>
                    <a:lnTo>
                      <a:pt x="826770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60" name="Forma Livre: Forma 59">
                <a:extLst>
                  <a:ext uri="{FF2B5EF4-FFF2-40B4-BE49-F238E27FC236}">
                    <a16:creationId xmlns:a16="http://schemas.microsoft.com/office/drawing/2014/main" id="{CFC7CAFC-2357-4CB4-B0C3-C260E7CB9A1A}"/>
                  </a:ext>
                </a:extLst>
              </p:cNvPr>
              <p:cNvSpPr/>
              <p:nvPr/>
            </p:nvSpPr>
            <p:spPr>
              <a:xfrm>
                <a:off x="0" y="4147820"/>
                <a:ext cx="10388600" cy="2710179"/>
              </a:xfrm>
              <a:custGeom>
                <a:avLst/>
                <a:gdLst>
                  <a:gd name="connsiteX0" fmla="*/ 9427845 w 10388600"/>
                  <a:gd name="connsiteY0" fmla="*/ 1001395 h 2710179"/>
                  <a:gd name="connsiteX1" fmla="*/ 9427845 w 10388600"/>
                  <a:gd name="connsiteY1" fmla="*/ 1001395 h 2710179"/>
                  <a:gd name="connsiteX2" fmla="*/ 8761095 w 10388600"/>
                  <a:gd name="connsiteY2" fmla="*/ 515620 h 2710179"/>
                  <a:gd name="connsiteX3" fmla="*/ 8322945 w 10388600"/>
                  <a:gd name="connsiteY3" fmla="*/ 315595 h 2710179"/>
                  <a:gd name="connsiteX4" fmla="*/ 8020050 w 10388600"/>
                  <a:gd name="connsiteY4" fmla="*/ 219710 h 2710179"/>
                  <a:gd name="connsiteX5" fmla="*/ 7710806 w 10388600"/>
                  <a:gd name="connsiteY5" fmla="*/ 154305 h 2710179"/>
                  <a:gd name="connsiteX6" fmla="*/ 6771006 w 10388600"/>
                  <a:gd name="connsiteY6" fmla="*/ 138430 h 2710179"/>
                  <a:gd name="connsiteX7" fmla="*/ 6308090 w 10388600"/>
                  <a:gd name="connsiteY7" fmla="*/ 231140 h 2710179"/>
                  <a:gd name="connsiteX8" fmla="*/ 6007100 w 10388600"/>
                  <a:gd name="connsiteY8" fmla="*/ 330200 h 2710179"/>
                  <a:gd name="connsiteX9" fmla="*/ 5168265 w 10388600"/>
                  <a:gd name="connsiteY9" fmla="*/ 805815 h 2710179"/>
                  <a:gd name="connsiteX10" fmla="*/ 4799330 w 10388600"/>
                  <a:gd name="connsiteY10" fmla="*/ 1143000 h 2710179"/>
                  <a:gd name="connsiteX11" fmla="*/ 4799330 w 10388600"/>
                  <a:gd name="connsiteY11" fmla="*/ 1143000 h 2710179"/>
                  <a:gd name="connsiteX12" fmla="*/ 4799330 w 10388600"/>
                  <a:gd name="connsiteY12" fmla="*/ 1143000 h 2710179"/>
                  <a:gd name="connsiteX13" fmla="*/ 4809490 w 10388600"/>
                  <a:gd name="connsiteY13" fmla="*/ 1132205 h 2710179"/>
                  <a:gd name="connsiteX14" fmla="*/ 777875 w 10388600"/>
                  <a:gd name="connsiteY14" fmla="*/ 1255395 h 2710179"/>
                  <a:gd name="connsiteX15" fmla="*/ 0 w 10388600"/>
                  <a:gd name="connsiteY15" fmla="*/ 0 h 2710179"/>
                  <a:gd name="connsiteX16" fmla="*/ 0 w 10388600"/>
                  <a:gd name="connsiteY16" fmla="*/ 1082675 h 2710179"/>
                  <a:gd name="connsiteX17" fmla="*/ 0 w 10388600"/>
                  <a:gd name="connsiteY17" fmla="*/ 2710180 h 2710179"/>
                  <a:gd name="connsiteX18" fmla="*/ 1730375 w 10388600"/>
                  <a:gd name="connsiteY18" fmla="*/ 2710180 h 2710179"/>
                  <a:gd name="connsiteX19" fmla="*/ 3325495 w 10388600"/>
                  <a:gd name="connsiteY19" fmla="*/ 2710180 h 2710179"/>
                  <a:gd name="connsiteX20" fmla="*/ 10388600 w 10388600"/>
                  <a:gd name="connsiteY20" fmla="*/ 2710180 h 2710179"/>
                  <a:gd name="connsiteX21" fmla="*/ 9427845 w 10388600"/>
                  <a:gd name="connsiteY21" fmla="*/ 1001395 h 2710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0388600" h="2710179">
                    <a:moveTo>
                      <a:pt x="9427845" y="1001395"/>
                    </a:moveTo>
                    <a:lnTo>
                      <a:pt x="9427845" y="1001395"/>
                    </a:lnTo>
                    <a:cubicBezTo>
                      <a:pt x="9221470" y="807085"/>
                      <a:pt x="8997315" y="645795"/>
                      <a:pt x="8761095" y="515620"/>
                    </a:cubicBezTo>
                    <a:cubicBezTo>
                      <a:pt x="8618855" y="437515"/>
                      <a:pt x="8472805" y="370840"/>
                      <a:pt x="8322945" y="315595"/>
                    </a:cubicBezTo>
                    <a:cubicBezTo>
                      <a:pt x="8223250" y="278765"/>
                      <a:pt x="8122285" y="247015"/>
                      <a:pt x="8020050" y="219710"/>
                    </a:cubicBezTo>
                    <a:cubicBezTo>
                      <a:pt x="7917815" y="193040"/>
                      <a:pt x="7814945" y="170815"/>
                      <a:pt x="7710806" y="154305"/>
                    </a:cubicBezTo>
                    <a:cubicBezTo>
                      <a:pt x="7399656" y="104140"/>
                      <a:pt x="7082790" y="98425"/>
                      <a:pt x="6771006" y="138430"/>
                    </a:cubicBezTo>
                    <a:cubicBezTo>
                      <a:pt x="6614795" y="158115"/>
                      <a:pt x="6460490" y="189230"/>
                      <a:pt x="6308090" y="231140"/>
                    </a:cubicBezTo>
                    <a:cubicBezTo>
                      <a:pt x="6206490" y="259080"/>
                      <a:pt x="6106160" y="292100"/>
                      <a:pt x="6007100" y="330200"/>
                    </a:cubicBezTo>
                    <a:cubicBezTo>
                      <a:pt x="5710555" y="444500"/>
                      <a:pt x="5427345" y="602615"/>
                      <a:pt x="5168265" y="805815"/>
                    </a:cubicBezTo>
                    <a:cubicBezTo>
                      <a:pt x="5038725" y="907415"/>
                      <a:pt x="4915535" y="1019810"/>
                      <a:pt x="4799330" y="1143000"/>
                    </a:cubicBezTo>
                    <a:cubicBezTo>
                      <a:pt x="4799330" y="1143000"/>
                      <a:pt x="4799330" y="1143000"/>
                      <a:pt x="4799330" y="1143000"/>
                    </a:cubicBezTo>
                    <a:lnTo>
                      <a:pt x="4799330" y="1143000"/>
                    </a:lnTo>
                    <a:lnTo>
                      <a:pt x="4809490" y="1132205"/>
                    </a:lnTo>
                    <a:cubicBezTo>
                      <a:pt x="3730625" y="2279650"/>
                      <a:pt x="1925320" y="2334895"/>
                      <a:pt x="777875" y="1255395"/>
                    </a:cubicBezTo>
                    <a:cubicBezTo>
                      <a:pt x="400050" y="899795"/>
                      <a:pt x="140335" y="464820"/>
                      <a:pt x="0" y="0"/>
                    </a:cubicBezTo>
                    <a:lnTo>
                      <a:pt x="0" y="1082675"/>
                    </a:lnTo>
                    <a:lnTo>
                      <a:pt x="0" y="2710180"/>
                    </a:lnTo>
                    <a:lnTo>
                      <a:pt x="1730375" y="2710180"/>
                    </a:lnTo>
                    <a:lnTo>
                      <a:pt x="3325495" y="2710180"/>
                    </a:lnTo>
                    <a:lnTo>
                      <a:pt x="10388600" y="2710180"/>
                    </a:lnTo>
                    <a:cubicBezTo>
                      <a:pt x="10255250" y="2077720"/>
                      <a:pt x="9934575" y="1477645"/>
                      <a:pt x="9427845" y="1001395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61" name="Forma Livre: Forma 60">
                <a:extLst>
                  <a:ext uri="{FF2B5EF4-FFF2-40B4-BE49-F238E27FC236}">
                    <a16:creationId xmlns:a16="http://schemas.microsoft.com/office/drawing/2014/main" id="{54EA6B73-5E58-4FC9-9854-6DB6824CC765}"/>
                  </a:ext>
                </a:extLst>
              </p:cNvPr>
              <p:cNvSpPr/>
              <p:nvPr/>
            </p:nvSpPr>
            <p:spPr>
              <a:xfrm>
                <a:off x="9427209" y="5148579"/>
                <a:ext cx="476" cy="282"/>
              </a:xfrm>
              <a:custGeom>
                <a:avLst/>
                <a:gdLst>
                  <a:gd name="connsiteX0" fmla="*/ 0 w 476"/>
                  <a:gd name="connsiteY0" fmla="*/ 0 h 282"/>
                  <a:gd name="connsiteX1" fmla="*/ 0 w 476"/>
                  <a:gd name="connsiteY1" fmla="*/ 0 h 282"/>
                  <a:gd name="connsiteX2" fmla="*/ 0 w 476"/>
                  <a:gd name="connsiteY2" fmla="*/ 0 h 282"/>
                  <a:gd name="connsiteX3" fmla="*/ 0 w 476"/>
                  <a:gd name="connsiteY3" fmla="*/ 0 h 282"/>
                  <a:gd name="connsiteX4" fmla="*/ 0 w 476"/>
                  <a:gd name="connsiteY4" fmla="*/ 0 h 2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6" h="282">
                    <a:moveTo>
                      <a:pt x="0" y="0"/>
                    </a:moveTo>
                    <a:lnTo>
                      <a:pt x="0" y="0"/>
                    </a:lnTo>
                    <a:cubicBezTo>
                      <a:pt x="635" y="635"/>
                      <a:pt x="635" y="0"/>
                      <a:pt x="0" y="0"/>
                    </a:cubicBezTo>
                    <a:cubicBezTo>
                      <a:pt x="635" y="0"/>
                      <a:pt x="0" y="0"/>
                      <a:pt x="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7203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62" name="Forma Livre: Forma 61">
                <a:extLst>
                  <a:ext uri="{FF2B5EF4-FFF2-40B4-BE49-F238E27FC236}">
                    <a16:creationId xmlns:a16="http://schemas.microsoft.com/office/drawing/2014/main" id="{A98E029A-DD61-46A3-AB49-16FD3E402B3B}"/>
                  </a:ext>
                </a:extLst>
              </p:cNvPr>
              <p:cNvSpPr/>
              <p:nvPr/>
            </p:nvSpPr>
            <p:spPr>
              <a:xfrm>
                <a:off x="4799965" y="5290184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7203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63" name="Forma Livre: Forma 62">
                <a:extLst>
                  <a:ext uri="{FF2B5EF4-FFF2-40B4-BE49-F238E27FC236}">
                    <a16:creationId xmlns:a16="http://schemas.microsoft.com/office/drawing/2014/main" id="{D62436E6-A422-4C1E-89B1-A10A7E8A84E2}"/>
                  </a:ext>
                </a:extLst>
              </p:cNvPr>
              <p:cNvSpPr/>
              <p:nvPr/>
            </p:nvSpPr>
            <p:spPr>
              <a:xfrm>
                <a:off x="3948429" y="0"/>
                <a:ext cx="5724525" cy="2910839"/>
              </a:xfrm>
              <a:custGeom>
                <a:avLst/>
                <a:gdLst>
                  <a:gd name="connsiteX0" fmla="*/ 5326380 w 5724525"/>
                  <a:gd name="connsiteY0" fmla="*/ 537210 h 2910839"/>
                  <a:gd name="connsiteX1" fmla="*/ 5417185 w 5724525"/>
                  <a:gd name="connsiteY1" fmla="*/ 436245 h 2910839"/>
                  <a:gd name="connsiteX2" fmla="*/ 5411470 w 5724525"/>
                  <a:gd name="connsiteY2" fmla="*/ 442595 h 2910839"/>
                  <a:gd name="connsiteX3" fmla="*/ 5724526 w 5724525"/>
                  <a:gd name="connsiteY3" fmla="*/ 0 h 2910839"/>
                  <a:gd name="connsiteX4" fmla="*/ 0 w 5724525"/>
                  <a:gd name="connsiteY4" fmla="*/ 0 h 2910839"/>
                  <a:gd name="connsiteX5" fmla="*/ 3094355 w 5724525"/>
                  <a:gd name="connsiteY5" fmla="*/ 2910840 h 2910839"/>
                  <a:gd name="connsiteX6" fmla="*/ 5326380 w 5724525"/>
                  <a:gd name="connsiteY6" fmla="*/ 537210 h 2910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724525" h="2910839">
                    <a:moveTo>
                      <a:pt x="5326380" y="537210"/>
                    </a:moveTo>
                    <a:cubicBezTo>
                      <a:pt x="5357495" y="504190"/>
                      <a:pt x="5387976" y="470535"/>
                      <a:pt x="5417185" y="436245"/>
                    </a:cubicBezTo>
                    <a:lnTo>
                      <a:pt x="5411470" y="442595"/>
                    </a:lnTo>
                    <a:cubicBezTo>
                      <a:pt x="5531485" y="302895"/>
                      <a:pt x="5636260" y="154940"/>
                      <a:pt x="5724526" y="0"/>
                    </a:cubicBezTo>
                    <a:lnTo>
                      <a:pt x="0" y="0"/>
                    </a:lnTo>
                    <a:lnTo>
                      <a:pt x="3094355" y="2910840"/>
                    </a:lnTo>
                    <a:lnTo>
                      <a:pt x="5326380" y="537210"/>
                    </a:lnTo>
                    <a:close/>
                  </a:path>
                </a:pathLst>
              </a:custGeom>
              <a:solidFill>
                <a:schemeClr val="accent1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64" name="Forma Livre: Forma 63">
                <a:extLst>
                  <a:ext uri="{FF2B5EF4-FFF2-40B4-BE49-F238E27FC236}">
                    <a16:creationId xmlns:a16="http://schemas.microsoft.com/office/drawing/2014/main" id="{83D28274-B9B6-47B4-9141-D0DB1872EB4C}"/>
                  </a:ext>
                </a:extLst>
              </p:cNvPr>
              <p:cNvSpPr/>
              <p:nvPr/>
            </p:nvSpPr>
            <p:spPr>
              <a:xfrm>
                <a:off x="9359900" y="0"/>
                <a:ext cx="313690" cy="442594"/>
              </a:xfrm>
              <a:custGeom>
                <a:avLst/>
                <a:gdLst>
                  <a:gd name="connsiteX0" fmla="*/ 313690 w 313690"/>
                  <a:gd name="connsiteY0" fmla="*/ 0 h 442594"/>
                  <a:gd name="connsiteX1" fmla="*/ 313690 w 313690"/>
                  <a:gd name="connsiteY1" fmla="*/ 0 h 442594"/>
                  <a:gd name="connsiteX2" fmla="*/ 0 w 313690"/>
                  <a:gd name="connsiteY2" fmla="*/ 442595 h 442594"/>
                  <a:gd name="connsiteX3" fmla="*/ 5715 w 313690"/>
                  <a:gd name="connsiteY3" fmla="*/ 436245 h 442594"/>
                  <a:gd name="connsiteX4" fmla="*/ 313690 w 313690"/>
                  <a:gd name="connsiteY4" fmla="*/ 0 h 442594"/>
                  <a:gd name="connsiteX5" fmla="*/ 313690 w 313690"/>
                  <a:gd name="connsiteY5" fmla="*/ 0 h 442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3690" h="442594">
                    <a:moveTo>
                      <a:pt x="313690" y="0"/>
                    </a:moveTo>
                    <a:lnTo>
                      <a:pt x="313690" y="0"/>
                    </a:lnTo>
                    <a:cubicBezTo>
                      <a:pt x="224790" y="154305"/>
                      <a:pt x="120015" y="302895"/>
                      <a:pt x="0" y="442595"/>
                    </a:cubicBezTo>
                    <a:lnTo>
                      <a:pt x="5715" y="436245"/>
                    </a:lnTo>
                    <a:cubicBezTo>
                      <a:pt x="123825" y="298450"/>
                      <a:pt x="226060" y="152400"/>
                      <a:pt x="313690" y="0"/>
                    </a:cubicBezTo>
                    <a:lnTo>
                      <a:pt x="313690" y="0"/>
                    </a:lnTo>
                    <a:close/>
                  </a:path>
                </a:pathLst>
              </a:custGeom>
              <a:solidFill>
                <a:srgbClr val="17203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</p:grpSp>
      </p:grpSp>
      <p:sp>
        <p:nvSpPr>
          <p:cNvPr id="5123" name="AutoShape 3"/>
          <p:cNvSpPr>
            <a:spLocks noChangeAspect="1" noChangeArrowheads="1" noTextEdit="1"/>
          </p:cNvSpPr>
          <p:nvPr/>
        </p:nvSpPr>
        <p:spPr bwMode="auto">
          <a:xfrm>
            <a:off x="217531" y="1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5" tIns="45717" rIns="91435" bIns="45717" numCol="1" anchor="t" anchorCtr="0" compatLnSpc="1">
            <a:prstTxWarp prst="textNoShape">
              <a:avLst/>
            </a:prstTxWarp>
          </a:bodyPr>
          <a:lstStyle/>
          <a:p>
            <a:endParaRPr lang="pt-BR" sz="2099"/>
          </a:p>
        </p:txBody>
      </p:sp>
      <p:sp>
        <p:nvSpPr>
          <p:cNvPr id="5129" name="Freeform 9"/>
          <p:cNvSpPr>
            <a:spLocks/>
          </p:cNvSpPr>
          <p:nvPr/>
        </p:nvSpPr>
        <p:spPr bwMode="auto">
          <a:xfrm>
            <a:off x="5622320" y="5889627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35" tIns="45717" rIns="91435" bIns="45717" numCol="1" anchor="t" anchorCtr="0" compatLnSpc="1">
            <a:prstTxWarp prst="textNoShape">
              <a:avLst/>
            </a:prstTxWarp>
          </a:bodyPr>
          <a:lstStyle/>
          <a:p>
            <a:endParaRPr lang="pt-BR" sz="2099" dirty="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09936" y="2397404"/>
            <a:ext cx="6223081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lang="pt-BR" b="1" dirty="0">
                <a:solidFill>
                  <a:schemeClr val="accent3"/>
                </a:solidFill>
                <a:latin typeface="+mj-lt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6181659" y="5927701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54" baseline="0">
                <a:solidFill>
                  <a:schemeClr val="accent2"/>
                </a:solidFill>
              </a:defRPr>
            </a:lvl1pPr>
            <a:lvl2pPr>
              <a:buNone/>
              <a:defRPr sz="1600">
                <a:solidFill>
                  <a:srgbClr val="32B9CD"/>
                </a:solidFill>
              </a:defRPr>
            </a:lvl2pPr>
            <a:lvl3pPr>
              <a:buNone/>
              <a:defRPr sz="1400">
                <a:solidFill>
                  <a:srgbClr val="32B9CD"/>
                </a:solidFill>
              </a:defRPr>
            </a:lvl3pPr>
            <a:lvl4pPr>
              <a:buNone/>
              <a:defRPr sz="1200">
                <a:solidFill>
                  <a:srgbClr val="32B9CD"/>
                </a:solidFill>
              </a:defRPr>
            </a:lvl4pPr>
            <a:lvl5pPr>
              <a:buNone/>
              <a:defRPr sz="1200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grpSp>
        <p:nvGrpSpPr>
          <p:cNvPr id="2" name="Agrupar 1">
            <a:extLst>
              <a:ext uri="{FF2B5EF4-FFF2-40B4-BE49-F238E27FC236}">
                <a16:creationId xmlns:a16="http://schemas.microsoft.com/office/drawing/2014/main" id="{5735D268-D3CD-4A1F-8AB1-12AA44874FC1}"/>
              </a:ext>
            </a:extLst>
          </p:cNvPr>
          <p:cNvGrpSpPr/>
          <p:nvPr userDrawn="1"/>
        </p:nvGrpSpPr>
        <p:grpSpPr>
          <a:xfrm>
            <a:off x="3098324" y="5902971"/>
            <a:ext cx="2292573" cy="1177305"/>
            <a:chOff x="2810005" y="5353943"/>
            <a:chExt cx="2079235" cy="1067805"/>
          </a:xfrm>
        </p:grpSpPr>
        <p:grpSp>
          <p:nvGrpSpPr>
            <p:cNvPr id="28" name="Gráfico 3">
              <a:extLst>
                <a:ext uri="{FF2B5EF4-FFF2-40B4-BE49-F238E27FC236}">
                  <a16:creationId xmlns:a16="http://schemas.microsoft.com/office/drawing/2014/main" id="{33ED7346-C50F-4CFE-8936-1E6BC1A79EE7}"/>
                </a:ext>
              </a:extLst>
            </p:cNvPr>
            <p:cNvGrpSpPr/>
            <p:nvPr/>
          </p:nvGrpSpPr>
          <p:grpSpPr>
            <a:xfrm>
              <a:off x="3994990" y="5353943"/>
              <a:ext cx="894250" cy="1067377"/>
              <a:chOff x="6368511" y="2428093"/>
              <a:chExt cx="1676392" cy="2000942"/>
            </a:xfrm>
            <a:solidFill>
              <a:schemeClr val="accent2"/>
            </a:solidFill>
          </p:grpSpPr>
          <p:sp>
            <p:nvSpPr>
              <p:cNvPr id="37" name="Forma Livre: Forma 36">
                <a:extLst>
                  <a:ext uri="{FF2B5EF4-FFF2-40B4-BE49-F238E27FC236}">
                    <a16:creationId xmlns:a16="http://schemas.microsoft.com/office/drawing/2014/main" id="{F7358D6B-035A-464F-B3F0-98A5F0BF1C17}"/>
                  </a:ext>
                </a:extLst>
              </p:cNvPr>
              <p:cNvSpPr/>
              <p:nvPr/>
            </p:nvSpPr>
            <p:spPr>
              <a:xfrm>
                <a:off x="6368511" y="2502768"/>
                <a:ext cx="224090" cy="367746"/>
              </a:xfrm>
              <a:custGeom>
                <a:avLst/>
                <a:gdLst>
                  <a:gd name="connsiteX0" fmla="*/ 0 w 224090"/>
                  <a:gd name="connsiteY0" fmla="*/ 256907 h 367746"/>
                  <a:gd name="connsiteX1" fmla="*/ 40451 w 224090"/>
                  <a:gd name="connsiteY1" fmla="*/ 256907 h 367746"/>
                  <a:gd name="connsiteX2" fmla="*/ 115997 w 224090"/>
                  <a:gd name="connsiteY2" fmla="*/ 328903 h 367746"/>
                  <a:gd name="connsiteX3" fmla="*/ 184443 w 224090"/>
                  <a:gd name="connsiteY3" fmla="*/ 272177 h 367746"/>
                  <a:gd name="connsiteX4" fmla="*/ 126645 w 224090"/>
                  <a:gd name="connsiteY4" fmla="*/ 209423 h 367746"/>
                  <a:gd name="connsiteX5" fmla="*/ 81238 w 224090"/>
                  <a:gd name="connsiteY5" fmla="*/ 196632 h 367746"/>
                  <a:gd name="connsiteX6" fmla="*/ 6094 w 224090"/>
                  <a:gd name="connsiteY6" fmla="*/ 95034 h 367746"/>
                  <a:gd name="connsiteX7" fmla="*/ 111777 w 224090"/>
                  <a:gd name="connsiteY7" fmla="*/ 0 h 367746"/>
                  <a:gd name="connsiteX8" fmla="*/ 219536 w 224090"/>
                  <a:gd name="connsiteY8" fmla="*/ 95570 h 367746"/>
                  <a:gd name="connsiteX9" fmla="*/ 179085 w 224090"/>
                  <a:gd name="connsiteY9" fmla="*/ 95570 h 367746"/>
                  <a:gd name="connsiteX10" fmla="*/ 111710 w 224090"/>
                  <a:gd name="connsiteY10" fmla="*/ 38844 h 367746"/>
                  <a:gd name="connsiteX11" fmla="*/ 45742 w 224090"/>
                  <a:gd name="connsiteY11" fmla="*/ 95034 h 367746"/>
                  <a:gd name="connsiteX12" fmla="*/ 98919 w 224090"/>
                  <a:gd name="connsiteY12" fmla="*/ 158323 h 367746"/>
                  <a:gd name="connsiteX13" fmla="*/ 140777 w 224090"/>
                  <a:gd name="connsiteY13" fmla="*/ 170043 h 367746"/>
                  <a:gd name="connsiteX14" fmla="*/ 224091 w 224090"/>
                  <a:gd name="connsiteY14" fmla="*/ 272177 h 367746"/>
                  <a:gd name="connsiteX15" fmla="*/ 115796 w 224090"/>
                  <a:gd name="connsiteY15" fmla="*/ 367747 h 367746"/>
                  <a:gd name="connsiteX16" fmla="*/ 0 w 224090"/>
                  <a:gd name="connsiteY16" fmla="*/ 256907 h 367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24090" h="367746">
                    <a:moveTo>
                      <a:pt x="0" y="256907"/>
                    </a:moveTo>
                    <a:lnTo>
                      <a:pt x="40451" y="256907"/>
                    </a:lnTo>
                    <a:cubicBezTo>
                      <a:pt x="46680" y="302850"/>
                      <a:pt x="77688" y="328903"/>
                      <a:pt x="115997" y="328903"/>
                    </a:cubicBezTo>
                    <a:cubicBezTo>
                      <a:pt x="156448" y="328903"/>
                      <a:pt x="184443" y="309949"/>
                      <a:pt x="184443" y="272177"/>
                    </a:cubicBezTo>
                    <a:cubicBezTo>
                      <a:pt x="184443" y="239896"/>
                      <a:pt x="167097" y="220608"/>
                      <a:pt x="126645" y="209423"/>
                    </a:cubicBezTo>
                    <a:lnTo>
                      <a:pt x="81238" y="196632"/>
                    </a:lnTo>
                    <a:cubicBezTo>
                      <a:pt x="28062" y="181764"/>
                      <a:pt x="6094" y="138499"/>
                      <a:pt x="6094" y="95034"/>
                    </a:cubicBezTo>
                    <a:cubicBezTo>
                      <a:pt x="6094" y="33687"/>
                      <a:pt x="54650" y="0"/>
                      <a:pt x="111777" y="0"/>
                    </a:cubicBezTo>
                    <a:cubicBezTo>
                      <a:pt x="173660" y="0"/>
                      <a:pt x="211969" y="34759"/>
                      <a:pt x="219536" y="95570"/>
                    </a:cubicBezTo>
                    <a:lnTo>
                      <a:pt x="179085" y="95570"/>
                    </a:lnTo>
                    <a:cubicBezTo>
                      <a:pt x="171450" y="61347"/>
                      <a:pt x="150019" y="38844"/>
                      <a:pt x="111710" y="38844"/>
                    </a:cubicBezTo>
                    <a:cubicBezTo>
                      <a:pt x="68781" y="38844"/>
                      <a:pt x="45742" y="63825"/>
                      <a:pt x="45742" y="95034"/>
                    </a:cubicBezTo>
                    <a:cubicBezTo>
                      <a:pt x="45742" y="127650"/>
                      <a:pt x="62084" y="148210"/>
                      <a:pt x="98919" y="158323"/>
                    </a:cubicBezTo>
                    <a:lnTo>
                      <a:pt x="140777" y="170043"/>
                    </a:lnTo>
                    <a:cubicBezTo>
                      <a:pt x="191274" y="184376"/>
                      <a:pt x="224091" y="215451"/>
                      <a:pt x="224091" y="272177"/>
                    </a:cubicBezTo>
                    <a:cubicBezTo>
                      <a:pt x="224091" y="329439"/>
                      <a:pt x="187389" y="367747"/>
                      <a:pt x="115796" y="367747"/>
                    </a:cubicBezTo>
                    <a:cubicBezTo>
                      <a:pt x="51234" y="367881"/>
                      <a:pt x="5090" y="325353"/>
                      <a:pt x="0" y="256907"/>
                    </a:cubicBezTo>
                    <a:close/>
                  </a:path>
                </a:pathLst>
              </a:custGeom>
              <a:grpFill/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38" name="Forma Livre: Forma 37">
                <a:extLst>
                  <a:ext uri="{FF2B5EF4-FFF2-40B4-BE49-F238E27FC236}">
                    <a16:creationId xmlns:a16="http://schemas.microsoft.com/office/drawing/2014/main" id="{96A968E6-0E4A-4A65-A130-D143B06F0D5C}"/>
                  </a:ext>
                </a:extLst>
              </p:cNvPr>
              <p:cNvSpPr/>
              <p:nvPr/>
            </p:nvSpPr>
            <p:spPr>
              <a:xfrm>
                <a:off x="6626423" y="2428093"/>
                <a:ext cx="274721" cy="437398"/>
              </a:xfrm>
              <a:custGeom>
                <a:avLst/>
                <a:gdLst>
                  <a:gd name="connsiteX0" fmla="*/ 202324 w 274721"/>
                  <a:gd name="connsiteY0" fmla="*/ 336672 h 437398"/>
                  <a:gd name="connsiteX1" fmla="*/ 72532 w 274721"/>
                  <a:gd name="connsiteY1" fmla="*/ 336672 h 437398"/>
                  <a:gd name="connsiteX2" fmla="*/ 39915 w 274721"/>
                  <a:gd name="connsiteY2" fmla="*/ 437398 h 437398"/>
                  <a:gd name="connsiteX3" fmla="*/ 0 w 274721"/>
                  <a:gd name="connsiteY3" fmla="*/ 437398 h 437398"/>
                  <a:gd name="connsiteX4" fmla="*/ 114858 w 274721"/>
                  <a:gd name="connsiteY4" fmla="*/ 79832 h 437398"/>
                  <a:gd name="connsiteX5" fmla="*/ 159864 w 274721"/>
                  <a:gd name="connsiteY5" fmla="*/ 79832 h 437398"/>
                  <a:gd name="connsiteX6" fmla="*/ 274722 w 274721"/>
                  <a:gd name="connsiteY6" fmla="*/ 437398 h 437398"/>
                  <a:gd name="connsiteX7" fmla="*/ 234806 w 274721"/>
                  <a:gd name="connsiteY7" fmla="*/ 437398 h 437398"/>
                  <a:gd name="connsiteX8" fmla="*/ 202324 w 274721"/>
                  <a:gd name="connsiteY8" fmla="*/ 336672 h 437398"/>
                  <a:gd name="connsiteX9" fmla="*/ 156917 w 274721"/>
                  <a:gd name="connsiteY9" fmla="*/ 58333 h 437398"/>
                  <a:gd name="connsiteX10" fmla="*/ 116466 w 274721"/>
                  <a:gd name="connsiteY10" fmla="*/ 29267 h 437398"/>
                  <a:gd name="connsiteX11" fmla="*/ 61883 w 274721"/>
                  <a:gd name="connsiteY11" fmla="*/ 58333 h 437398"/>
                  <a:gd name="connsiteX12" fmla="*/ 50162 w 274721"/>
                  <a:gd name="connsiteY12" fmla="*/ 36366 h 437398"/>
                  <a:gd name="connsiteX13" fmla="*/ 118073 w 274721"/>
                  <a:gd name="connsiteY13" fmla="*/ 0 h 437398"/>
                  <a:gd name="connsiteX14" fmla="*/ 158524 w 274721"/>
                  <a:gd name="connsiteY14" fmla="*/ 29066 h 437398"/>
                  <a:gd name="connsiteX15" fmla="*/ 213107 w 274721"/>
                  <a:gd name="connsiteY15" fmla="*/ 0 h 437398"/>
                  <a:gd name="connsiteX16" fmla="*/ 224827 w 274721"/>
                  <a:gd name="connsiteY16" fmla="*/ 21967 h 437398"/>
                  <a:gd name="connsiteX17" fmla="*/ 156917 w 274721"/>
                  <a:gd name="connsiteY17" fmla="*/ 58333 h 437398"/>
                  <a:gd name="connsiteX18" fmla="*/ 137428 w 274721"/>
                  <a:gd name="connsiteY18" fmla="*/ 134414 h 437398"/>
                  <a:gd name="connsiteX19" fmla="*/ 84252 w 274721"/>
                  <a:gd name="connsiteY19" fmla="*/ 300372 h 437398"/>
                  <a:gd name="connsiteX20" fmla="*/ 190470 w 274721"/>
                  <a:gd name="connsiteY20" fmla="*/ 300372 h 437398"/>
                  <a:gd name="connsiteX21" fmla="*/ 137428 w 274721"/>
                  <a:gd name="connsiteY21" fmla="*/ 134414 h 437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74721" h="437398">
                    <a:moveTo>
                      <a:pt x="202324" y="336672"/>
                    </a:moveTo>
                    <a:lnTo>
                      <a:pt x="72532" y="336672"/>
                    </a:lnTo>
                    <a:lnTo>
                      <a:pt x="39915" y="437398"/>
                    </a:lnTo>
                    <a:lnTo>
                      <a:pt x="0" y="437398"/>
                    </a:lnTo>
                    <a:lnTo>
                      <a:pt x="114858" y="79832"/>
                    </a:lnTo>
                    <a:lnTo>
                      <a:pt x="159864" y="79832"/>
                    </a:lnTo>
                    <a:lnTo>
                      <a:pt x="274722" y="437398"/>
                    </a:lnTo>
                    <a:lnTo>
                      <a:pt x="234806" y="437398"/>
                    </a:lnTo>
                    <a:lnTo>
                      <a:pt x="202324" y="336672"/>
                    </a:lnTo>
                    <a:close/>
                    <a:moveTo>
                      <a:pt x="156917" y="58333"/>
                    </a:moveTo>
                    <a:lnTo>
                      <a:pt x="116466" y="29267"/>
                    </a:lnTo>
                    <a:lnTo>
                      <a:pt x="61883" y="58333"/>
                    </a:lnTo>
                    <a:lnTo>
                      <a:pt x="50162" y="36366"/>
                    </a:lnTo>
                    <a:lnTo>
                      <a:pt x="118073" y="0"/>
                    </a:lnTo>
                    <a:lnTo>
                      <a:pt x="158524" y="29066"/>
                    </a:lnTo>
                    <a:lnTo>
                      <a:pt x="213107" y="0"/>
                    </a:lnTo>
                    <a:lnTo>
                      <a:pt x="224827" y="21967"/>
                    </a:lnTo>
                    <a:lnTo>
                      <a:pt x="156917" y="58333"/>
                    </a:lnTo>
                    <a:close/>
                    <a:moveTo>
                      <a:pt x="137428" y="134414"/>
                    </a:moveTo>
                    <a:lnTo>
                      <a:pt x="84252" y="300372"/>
                    </a:lnTo>
                    <a:lnTo>
                      <a:pt x="190470" y="300372"/>
                    </a:lnTo>
                    <a:lnTo>
                      <a:pt x="137428" y="134414"/>
                    </a:lnTo>
                    <a:close/>
                  </a:path>
                </a:pathLst>
              </a:custGeom>
              <a:grpFill/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39" name="Forma Livre: Forma 38">
                <a:extLst>
                  <a:ext uri="{FF2B5EF4-FFF2-40B4-BE49-F238E27FC236}">
                    <a16:creationId xmlns:a16="http://schemas.microsoft.com/office/drawing/2014/main" id="{17568BB7-D3D2-40CA-9BB3-0B6409093CBE}"/>
                  </a:ext>
                </a:extLst>
              </p:cNvPr>
              <p:cNvSpPr/>
              <p:nvPr/>
            </p:nvSpPr>
            <p:spPr>
              <a:xfrm>
                <a:off x="6928402" y="2502768"/>
                <a:ext cx="230787" cy="367880"/>
              </a:xfrm>
              <a:custGeom>
                <a:avLst/>
                <a:gdLst>
                  <a:gd name="connsiteX0" fmla="*/ 230788 w 230787"/>
                  <a:gd name="connsiteY0" fmla="*/ 246794 h 367880"/>
                  <a:gd name="connsiteX1" fmla="*/ 115394 w 230787"/>
                  <a:gd name="connsiteY1" fmla="*/ 367881 h 367880"/>
                  <a:gd name="connsiteX2" fmla="*/ 0 w 230787"/>
                  <a:gd name="connsiteY2" fmla="*/ 246794 h 367880"/>
                  <a:gd name="connsiteX3" fmla="*/ 0 w 230787"/>
                  <a:gd name="connsiteY3" fmla="*/ 121086 h 367880"/>
                  <a:gd name="connsiteX4" fmla="*/ 115394 w 230787"/>
                  <a:gd name="connsiteY4" fmla="*/ 0 h 367880"/>
                  <a:gd name="connsiteX5" fmla="*/ 230788 w 230787"/>
                  <a:gd name="connsiteY5" fmla="*/ 121086 h 367880"/>
                  <a:gd name="connsiteX6" fmla="*/ 230788 w 230787"/>
                  <a:gd name="connsiteY6" fmla="*/ 246794 h 367880"/>
                  <a:gd name="connsiteX7" fmla="*/ 191609 w 230787"/>
                  <a:gd name="connsiteY7" fmla="*/ 121086 h 367880"/>
                  <a:gd name="connsiteX8" fmla="*/ 115528 w 230787"/>
                  <a:gd name="connsiteY8" fmla="*/ 38844 h 367880"/>
                  <a:gd name="connsiteX9" fmla="*/ 39447 w 230787"/>
                  <a:gd name="connsiteY9" fmla="*/ 121086 h 367880"/>
                  <a:gd name="connsiteX10" fmla="*/ 39447 w 230787"/>
                  <a:gd name="connsiteY10" fmla="*/ 246794 h 367880"/>
                  <a:gd name="connsiteX11" fmla="*/ 115528 w 230787"/>
                  <a:gd name="connsiteY11" fmla="*/ 329037 h 367880"/>
                  <a:gd name="connsiteX12" fmla="*/ 191609 w 230787"/>
                  <a:gd name="connsiteY12" fmla="*/ 246794 h 367880"/>
                  <a:gd name="connsiteX13" fmla="*/ 191609 w 230787"/>
                  <a:gd name="connsiteY13" fmla="*/ 121086 h 36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30787" h="367880">
                    <a:moveTo>
                      <a:pt x="230788" y="246794"/>
                    </a:moveTo>
                    <a:cubicBezTo>
                      <a:pt x="230788" y="321937"/>
                      <a:pt x="183840" y="367881"/>
                      <a:pt x="115394" y="367881"/>
                    </a:cubicBezTo>
                    <a:cubicBezTo>
                      <a:pt x="46948" y="367881"/>
                      <a:pt x="0" y="321937"/>
                      <a:pt x="0" y="246794"/>
                    </a:cubicBezTo>
                    <a:lnTo>
                      <a:pt x="0" y="121086"/>
                    </a:lnTo>
                    <a:cubicBezTo>
                      <a:pt x="0" y="45943"/>
                      <a:pt x="46948" y="0"/>
                      <a:pt x="115394" y="0"/>
                    </a:cubicBezTo>
                    <a:cubicBezTo>
                      <a:pt x="183840" y="0"/>
                      <a:pt x="230788" y="45943"/>
                      <a:pt x="230788" y="121086"/>
                    </a:cubicBezTo>
                    <a:lnTo>
                      <a:pt x="230788" y="246794"/>
                    </a:lnTo>
                    <a:close/>
                    <a:moveTo>
                      <a:pt x="191609" y="121086"/>
                    </a:moveTo>
                    <a:cubicBezTo>
                      <a:pt x="191609" y="67039"/>
                      <a:pt x="157922" y="38844"/>
                      <a:pt x="115528" y="38844"/>
                    </a:cubicBezTo>
                    <a:cubicBezTo>
                      <a:pt x="73134" y="38844"/>
                      <a:pt x="39447" y="66839"/>
                      <a:pt x="39447" y="121086"/>
                    </a:cubicBezTo>
                    <a:lnTo>
                      <a:pt x="39447" y="246794"/>
                    </a:lnTo>
                    <a:cubicBezTo>
                      <a:pt x="39447" y="300841"/>
                      <a:pt x="73134" y="329037"/>
                      <a:pt x="115528" y="329037"/>
                    </a:cubicBezTo>
                    <a:cubicBezTo>
                      <a:pt x="157922" y="329037"/>
                      <a:pt x="191609" y="301042"/>
                      <a:pt x="191609" y="246794"/>
                    </a:cubicBezTo>
                    <a:lnTo>
                      <a:pt x="191609" y="121086"/>
                    </a:lnTo>
                    <a:close/>
                  </a:path>
                </a:pathLst>
              </a:custGeom>
              <a:grpFill/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40" name="Forma Livre: Forma 39">
                <a:extLst>
                  <a:ext uri="{FF2B5EF4-FFF2-40B4-BE49-F238E27FC236}">
                    <a16:creationId xmlns:a16="http://schemas.microsoft.com/office/drawing/2014/main" id="{6A698F19-46ED-4E52-8B12-65C40835014E}"/>
                  </a:ext>
                </a:extLst>
              </p:cNvPr>
              <p:cNvSpPr/>
              <p:nvPr/>
            </p:nvSpPr>
            <p:spPr>
              <a:xfrm>
                <a:off x="6380834" y="3027364"/>
                <a:ext cx="230787" cy="357567"/>
              </a:xfrm>
              <a:custGeom>
                <a:avLst/>
                <a:gdLst>
                  <a:gd name="connsiteX0" fmla="*/ 115461 w 230787"/>
                  <a:gd name="connsiteY0" fmla="*/ 218599 h 357567"/>
                  <a:gd name="connsiteX1" fmla="*/ 39380 w 230787"/>
                  <a:gd name="connsiteY1" fmla="*/ 218599 h 357567"/>
                  <a:gd name="connsiteX2" fmla="*/ 39380 w 230787"/>
                  <a:gd name="connsiteY2" fmla="*/ 357567 h 357567"/>
                  <a:gd name="connsiteX3" fmla="*/ 0 w 230787"/>
                  <a:gd name="connsiteY3" fmla="*/ 357567 h 357567"/>
                  <a:gd name="connsiteX4" fmla="*/ 0 w 230787"/>
                  <a:gd name="connsiteY4" fmla="*/ 0 h 357567"/>
                  <a:gd name="connsiteX5" fmla="*/ 115394 w 230787"/>
                  <a:gd name="connsiteY5" fmla="*/ 0 h 357567"/>
                  <a:gd name="connsiteX6" fmla="*/ 230788 w 230787"/>
                  <a:gd name="connsiteY6" fmla="*/ 109366 h 357567"/>
                  <a:gd name="connsiteX7" fmla="*/ 115461 w 230787"/>
                  <a:gd name="connsiteY7" fmla="*/ 218599 h 357567"/>
                  <a:gd name="connsiteX8" fmla="*/ 115461 w 230787"/>
                  <a:gd name="connsiteY8" fmla="*/ 38844 h 357567"/>
                  <a:gd name="connsiteX9" fmla="*/ 39380 w 230787"/>
                  <a:gd name="connsiteY9" fmla="*/ 38844 h 357567"/>
                  <a:gd name="connsiteX10" fmla="*/ 39380 w 230787"/>
                  <a:gd name="connsiteY10" fmla="*/ 179755 h 357567"/>
                  <a:gd name="connsiteX11" fmla="*/ 115461 w 230787"/>
                  <a:gd name="connsiteY11" fmla="*/ 179755 h 357567"/>
                  <a:gd name="connsiteX12" fmla="*/ 190604 w 230787"/>
                  <a:gd name="connsiteY12" fmla="*/ 109165 h 357567"/>
                  <a:gd name="connsiteX13" fmla="*/ 115461 w 230787"/>
                  <a:gd name="connsiteY13" fmla="*/ 38844 h 357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30787" h="357567">
                    <a:moveTo>
                      <a:pt x="115461" y="218599"/>
                    </a:moveTo>
                    <a:lnTo>
                      <a:pt x="39380" y="218599"/>
                    </a:lnTo>
                    <a:lnTo>
                      <a:pt x="39380" y="357567"/>
                    </a:lnTo>
                    <a:lnTo>
                      <a:pt x="0" y="357567"/>
                    </a:lnTo>
                    <a:lnTo>
                      <a:pt x="0" y="0"/>
                    </a:lnTo>
                    <a:lnTo>
                      <a:pt x="115394" y="0"/>
                    </a:lnTo>
                    <a:cubicBezTo>
                      <a:pt x="198172" y="0"/>
                      <a:pt x="230788" y="45943"/>
                      <a:pt x="230788" y="109366"/>
                    </a:cubicBezTo>
                    <a:cubicBezTo>
                      <a:pt x="230922" y="172656"/>
                      <a:pt x="198105" y="218599"/>
                      <a:pt x="115461" y="218599"/>
                    </a:cubicBezTo>
                    <a:close/>
                    <a:moveTo>
                      <a:pt x="115461" y="38844"/>
                    </a:moveTo>
                    <a:lnTo>
                      <a:pt x="39380" y="38844"/>
                    </a:lnTo>
                    <a:lnTo>
                      <a:pt x="39380" y="179755"/>
                    </a:lnTo>
                    <a:lnTo>
                      <a:pt x="115461" y="179755"/>
                    </a:lnTo>
                    <a:cubicBezTo>
                      <a:pt x="170579" y="179755"/>
                      <a:pt x="190604" y="148010"/>
                      <a:pt x="190604" y="109165"/>
                    </a:cubicBezTo>
                    <a:cubicBezTo>
                      <a:pt x="190470" y="70522"/>
                      <a:pt x="170646" y="38844"/>
                      <a:pt x="115461" y="38844"/>
                    </a:cubicBezTo>
                    <a:close/>
                  </a:path>
                </a:pathLst>
              </a:custGeom>
              <a:grpFill/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41" name="Forma Livre: Forma 40">
                <a:extLst>
                  <a:ext uri="{FF2B5EF4-FFF2-40B4-BE49-F238E27FC236}">
                    <a16:creationId xmlns:a16="http://schemas.microsoft.com/office/drawing/2014/main" id="{3327673C-D18E-455D-8311-5538CFF72785}"/>
                  </a:ext>
                </a:extLst>
              </p:cNvPr>
              <p:cNvSpPr/>
              <p:nvPr/>
            </p:nvSpPr>
            <p:spPr>
              <a:xfrm>
                <a:off x="6616310" y="3027432"/>
                <a:ext cx="274721" cy="357566"/>
              </a:xfrm>
              <a:custGeom>
                <a:avLst/>
                <a:gdLst>
                  <a:gd name="connsiteX0" fmla="*/ 202325 w 274721"/>
                  <a:gd name="connsiteY0" fmla="*/ 256840 h 357566"/>
                  <a:gd name="connsiteX1" fmla="*/ 72532 w 274721"/>
                  <a:gd name="connsiteY1" fmla="*/ 256840 h 357566"/>
                  <a:gd name="connsiteX2" fmla="*/ 39916 w 274721"/>
                  <a:gd name="connsiteY2" fmla="*/ 357567 h 357566"/>
                  <a:gd name="connsiteX3" fmla="*/ 0 w 274721"/>
                  <a:gd name="connsiteY3" fmla="*/ 357567 h 357566"/>
                  <a:gd name="connsiteX4" fmla="*/ 114858 w 274721"/>
                  <a:gd name="connsiteY4" fmla="*/ 0 h 357566"/>
                  <a:gd name="connsiteX5" fmla="*/ 159864 w 274721"/>
                  <a:gd name="connsiteY5" fmla="*/ 0 h 357566"/>
                  <a:gd name="connsiteX6" fmla="*/ 274722 w 274721"/>
                  <a:gd name="connsiteY6" fmla="*/ 357567 h 357566"/>
                  <a:gd name="connsiteX7" fmla="*/ 234806 w 274721"/>
                  <a:gd name="connsiteY7" fmla="*/ 357567 h 357566"/>
                  <a:gd name="connsiteX8" fmla="*/ 202325 w 274721"/>
                  <a:gd name="connsiteY8" fmla="*/ 256840 h 357566"/>
                  <a:gd name="connsiteX9" fmla="*/ 137428 w 274721"/>
                  <a:gd name="connsiteY9" fmla="*/ 54516 h 357566"/>
                  <a:gd name="connsiteX10" fmla="*/ 84252 w 274721"/>
                  <a:gd name="connsiteY10" fmla="*/ 220474 h 357566"/>
                  <a:gd name="connsiteX11" fmla="*/ 190470 w 274721"/>
                  <a:gd name="connsiteY11" fmla="*/ 220474 h 357566"/>
                  <a:gd name="connsiteX12" fmla="*/ 137428 w 274721"/>
                  <a:gd name="connsiteY12" fmla="*/ 54516 h 357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74721" h="357566">
                    <a:moveTo>
                      <a:pt x="202325" y="256840"/>
                    </a:moveTo>
                    <a:lnTo>
                      <a:pt x="72532" y="256840"/>
                    </a:lnTo>
                    <a:lnTo>
                      <a:pt x="39916" y="357567"/>
                    </a:lnTo>
                    <a:lnTo>
                      <a:pt x="0" y="357567"/>
                    </a:lnTo>
                    <a:lnTo>
                      <a:pt x="114858" y="0"/>
                    </a:lnTo>
                    <a:lnTo>
                      <a:pt x="159864" y="0"/>
                    </a:lnTo>
                    <a:lnTo>
                      <a:pt x="274722" y="357567"/>
                    </a:lnTo>
                    <a:lnTo>
                      <a:pt x="234806" y="357567"/>
                    </a:lnTo>
                    <a:lnTo>
                      <a:pt x="202325" y="256840"/>
                    </a:lnTo>
                    <a:close/>
                    <a:moveTo>
                      <a:pt x="137428" y="54516"/>
                    </a:moveTo>
                    <a:lnTo>
                      <a:pt x="84252" y="220474"/>
                    </a:lnTo>
                    <a:lnTo>
                      <a:pt x="190470" y="220474"/>
                    </a:lnTo>
                    <a:lnTo>
                      <a:pt x="137428" y="54516"/>
                    </a:lnTo>
                    <a:close/>
                  </a:path>
                </a:pathLst>
              </a:custGeom>
              <a:grpFill/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42" name="Forma Livre: Forma 41">
                <a:extLst>
                  <a:ext uri="{FF2B5EF4-FFF2-40B4-BE49-F238E27FC236}">
                    <a16:creationId xmlns:a16="http://schemas.microsoft.com/office/drawing/2014/main" id="{C03EA102-0152-4962-B110-372C01B6F7B5}"/>
                  </a:ext>
                </a:extLst>
              </p:cNvPr>
              <p:cNvSpPr/>
              <p:nvPr/>
            </p:nvSpPr>
            <p:spPr>
              <a:xfrm>
                <a:off x="6918089" y="3027364"/>
                <a:ext cx="230921" cy="362723"/>
              </a:xfrm>
              <a:custGeom>
                <a:avLst/>
                <a:gdLst>
                  <a:gd name="connsiteX0" fmla="*/ 0 w 230921"/>
                  <a:gd name="connsiteY0" fmla="*/ 0 h 362723"/>
                  <a:gd name="connsiteX1" fmla="*/ 39380 w 230921"/>
                  <a:gd name="connsiteY1" fmla="*/ 0 h 362723"/>
                  <a:gd name="connsiteX2" fmla="*/ 39380 w 230921"/>
                  <a:gd name="connsiteY2" fmla="*/ 241637 h 362723"/>
                  <a:gd name="connsiteX3" fmla="*/ 115461 w 230921"/>
                  <a:gd name="connsiteY3" fmla="*/ 323880 h 362723"/>
                  <a:gd name="connsiteX4" fmla="*/ 191542 w 230921"/>
                  <a:gd name="connsiteY4" fmla="*/ 241637 h 362723"/>
                  <a:gd name="connsiteX5" fmla="*/ 191542 w 230921"/>
                  <a:gd name="connsiteY5" fmla="*/ 0 h 362723"/>
                  <a:gd name="connsiteX6" fmla="*/ 230922 w 230921"/>
                  <a:gd name="connsiteY6" fmla="*/ 0 h 362723"/>
                  <a:gd name="connsiteX7" fmla="*/ 230922 w 230921"/>
                  <a:gd name="connsiteY7" fmla="*/ 241637 h 362723"/>
                  <a:gd name="connsiteX8" fmla="*/ 115528 w 230921"/>
                  <a:gd name="connsiteY8" fmla="*/ 362724 h 362723"/>
                  <a:gd name="connsiteX9" fmla="*/ 134 w 230921"/>
                  <a:gd name="connsiteY9" fmla="*/ 241637 h 362723"/>
                  <a:gd name="connsiteX10" fmla="*/ 134 w 230921"/>
                  <a:gd name="connsiteY10" fmla="*/ 0 h 362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30921" h="362723">
                    <a:moveTo>
                      <a:pt x="0" y="0"/>
                    </a:moveTo>
                    <a:lnTo>
                      <a:pt x="39380" y="0"/>
                    </a:lnTo>
                    <a:lnTo>
                      <a:pt x="39380" y="241637"/>
                    </a:lnTo>
                    <a:cubicBezTo>
                      <a:pt x="39380" y="295684"/>
                      <a:pt x="73067" y="323880"/>
                      <a:pt x="115461" y="323880"/>
                    </a:cubicBezTo>
                    <a:cubicBezTo>
                      <a:pt x="157855" y="323880"/>
                      <a:pt x="191542" y="295885"/>
                      <a:pt x="191542" y="241637"/>
                    </a:cubicBezTo>
                    <a:lnTo>
                      <a:pt x="191542" y="0"/>
                    </a:lnTo>
                    <a:lnTo>
                      <a:pt x="230922" y="0"/>
                    </a:lnTo>
                    <a:lnTo>
                      <a:pt x="230922" y="241637"/>
                    </a:lnTo>
                    <a:cubicBezTo>
                      <a:pt x="230922" y="316781"/>
                      <a:pt x="183974" y="362724"/>
                      <a:pt x="115528" y="362724"/>
                    </a:cubicBezTo>
                    <a:cubicBezTo>
                      <a:pt x="47082" y="362724"/>
                      <a:pt x="134" y="316781"/>
                      <a:pt x="134" y="241637"/>
                    </a:cubicBezTo>
                    <a:lnTo>
                      <a:pt x="134" y="0"/>
                    </a:lnTo>
                    <a:close/>
                  </a:path>
                </a:pathLst>
              </a:custGeom>
              <a:grpFill/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43" name="Forma Livre: Forma 42">
                <a:extLst>
                  <a:ext uri="{FF2B5EF4-FFF2-40B4-BE49-F238E27FC236}">
                    <a16:creationId xmlns:a16="http://schemas.microsoft.com/office/drawing/2014/main" id="{424221E6-60AF-4CC1-AC51-CCD4D4BD00F5}"/>
                  </a:ext>
                </a:extLst>
              </p:cNvPr>
              <p:cNvSpPr/>
              <p:nvPr/>
            </p:nvSpPr>
            <p:spPr>
              <a:xfrm>
                <a:off x="7230784" y="3027364"/>
                <a:ext cx="203395" cy="357633"/>
              </a:xfrm>
              <a:custGeom>
                <a:avLst/>
                <a:gdLst>
                  <a:gd name="connsiteX0" fmla="*/ 0 w 203395"/>
                  <a:gd name="connsiteY0" fmla="*/ 0 h 357633"/>
                  <a:gd name="connsiteX1" fmla="*/ 39380 w 203395"/>
                  <a:gd name="connsiteY1" fmla="*/ 0 h 357633"/>
                  <a:gd name="connsiteX2" fmla="*/ 39380 w 203395"/>
                  <a:gd name="connsiteY2" fmla="*/ 318790 h 357633"/>
                  <a:gd name="connsiteX3" fmla="*/ 203396 w 203395"/>
                  <a:gd name="connsiteY3" fmla="*/ 318790 h 357633"/>
                  <a:gd name="connsiteX4" fmla="*/ 203396 w 203395"/>
                  <a:gd name="connsiteY4" fmla="*/ 357634 h 357633"/>
                  <a:gd name="connsiteX5" fmla="*/ 67 w 203395"/>
                  <a:gd name="connsiteY5" fmla="*/ 357634 h 357633"/>
                  <a:gd name="connsiteX6" fmla="*/ 67 w 203395"/>
                  <a:gd name="connsiteY6" fmla="*/ 0 h 357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3395" h="357633">
                    <a:moveTo>
                      <a:pt x="0" y="0"/>
                    </a:moveTo>
                    <a:lnTo>
                      <a:pt x="39380" y="0"/>
                    </a:lnTo>
                    <a:lnTo>
                      <a:pt x="39380" y="318790"/>
                    </a:lnTo>
                    <a:lnTo>
                      <a:pt x="203396" y="318790"/>
                    </a:lnTo>
                    <a:lnTo>
                      <a:pt x="203396" y="357634"/>
                    </a:lnTo>
                    <a:lnTo>
                      <a:pt x="67" y="357634"/>
                    </a:lnTo>
                    <a:lnTo>
                      <a:pt x="67" y="0"/>
                    </a:lnTo>
                    <a:close/>
                  </a:path>
                </a:pathLst>
              </a:custGeom>
              <a:grpFill/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44" name="Forma Livre: Forma 43">
                <a:extLst>
                  <a:ext uri="{FF2B5EF4-FFF2-40B4-BE49-F238E27FC236}">
                    <a16:creationId xmlns:a16="http://schemas.microsoft.com/office/drawing/2014/main" id="{AB5E1BBE-2B8E-4770-9F73-C819304D68C3}"/>
                  </a:ext>
                </a:extLst>
              </p:cNvPr>
              <p:cNvSpPr/>
              <p:nvPr/>
            </p:nvSpPr>
            <p:spPr>
              <a:xfrm>
                <a:off x="7477980" y="3023413"/>
                <a:ext cx="230787" cy="367880"/>
              </a:xfrm>
              <a:custGeom>
                <a:avLst/>
                <a:gdLst>
                  <a:gd name="connsiteX0" fmla="*/ 230788 w 230787"/>
                  <a:gd name="connsiteY0" fmla="*/ 246794 h 367880"/>
                  <a:gd name="connsiteX1" fmla="*/ 115394 w 230787"/>
                  <a:gd name="connsiteY1" fmla="*/ 367881 h 367880"/>
                  <a:gd name="connsiteX2" fmla="*/ 0 w 230787"/>
                  <a:gd name="connsiteY2" fmla="*/ 246794 h 367880"/>
                  <a:gd name="connsiteX3" fmla="*/ 0 w 230787"/>
                  <a:gd name="connsiteY3" fmla="*/ 121086 h 367880"/>
                  <a:gd name="connsiteX4" fmla="*/ 115394 w 230787"/>
                  <a:gd name="connsiteY4" fmla="*/ 0 h 367880"/>
                  <a:gd name="connsiteX5" fmla="*/ 230788 w 230787"/>
                  <a:gd name="connsiteY5" fmla="*/ 121086 h 367880"/>
                  <a:gd name="connsiteX6" fmla="*/ 230788 w 230787"/>
                  <a:gd name="connsiteY6" fmla="*/ 246794 h 367880"/>
                  <a:gd name="connsiteX7" fmla="*/ 191609 w 230787"/>
                  <a:gd name="connsiteY7" fmla="*/ 121287 h 367880"/>
                  <a:gd name="connsiteX8" fmla="*/ 115528 w 230787"/>
                  <a:gd name="connsiteY8" fmla="*/ 39045 h 367880"/>
                  <a:gd name="connsiteX9" fmla="*/ 39447 w 230787"/>
                  <a:gd name="connsiteY9" fmla="*/ 121287 h 367880"/>
                  <a:gd name="connsiteX10" fmla="*/ 39447 w 230787"/>
                  <a:gd name="connsiteY10" fmla="*/ 246995 h 367880"/>
                  <a:gd name="connsiteX11" fmla="*/ 115528 w 230787"/>
                  <a:gd name="connsiteY11" fmla="*/ 329238 h 367880"/>
                  <a:gd name="connsiteX12" fmla="*/ 191609 w 230787"/>
                  <a:gd name="connsiteY12" fmla="*/ 246995 h 367880"/>
                  <a:gd name="connsiteX13" fmla="*/ 191609 w 230787"/>
                  <a:gd name="connsiteY13" fmla="*/ 121287 h 36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30787" h="367880">
                    <a:moveTo>
                      <a:pt x="230788" y="246794"/>
                    </a:moveTo>
                    <a:cubicBezTo>
                      <a:pt x="230788" y="321938"/>
                      <a:pt x="183840" y="367881"/>
                      <a:pt x="115394" y="367881"/>
                    </a:cubicBezTo>
                    <a:cubicBezTo>
                      <a:pt x="46948" y="367881"/>
                      <a:pt x="0" y="321938"/>
                      <a:pt x="0" y="246794"/>
                    </a:cubicBezTo>
                    <a:lnTo>
                      <a:pt x="0" y="121086"/>
                    </a:lnTo>
                    <a:cubicBezTo>
                      <a:pt x="0" y="45943"/>
                      <a:pt x="46948" y="0"/>
                      <a:pt x="115394" y="0"/>
                    </a:cubicBezTo>
                    <a:cubicBezTo>
                      <a:pt x="183840" y="0"/>
                      <a:pt x="230788" y="45943"/>
                      <a:pt x="230788" y="121086"/>
                    </a:cubicBezTo>
                    <a:lnTo>
                      <a:pt x="230788" y="246794"/>
                    </a:lnTo>
                    <a:close/>
                    <a:moveTo>
                      <a:pt x="191609" y="121287"/>
                    </a:moveTo>
                    <a:cubicBezTo>
                      <a:pt x="191609" y="67241"/>
                      <a:pt x="157922" y="39045"/>
                      <a:pt x="115528" y="39045"/>
                    </a:cubicBezTo>
                    <a:cubicBezTo>
                      <a:pt x="73134" y="39045"/>
                      <a:pt x="39447" y="67040"/>
                      <a:pt x="39447" y="121287"/>
                    </a:cubicBezTo>
                    <a:lnTo>
                      <a:pt x="39447" y="246995"/>
                    </a:lnTo>
                    <a:cubicBezTo>
                      <a:pt x="39447" y="301042"/>
                      <a:pt x="73134" y="329238"/>
                      <a:pt x="115528" y="329238"/>
                    </a:cubicBezTo>
                    <a:cubicBezTo>
                      <a:pt x="157922" y="329238"/>
                      <a:pt x="191609" y="301243"/>
                      <a:pt x="191609" y="246995"/>
                    </a:cubicBezTo>
                    <a:lnTo>
                      <a:pt x="191609" y="121287"/>
                    </a:lnTo>
                    <a:close/>
                  </a:path>
                </a:pathLst>
              </a:custGeom>
              <a:grpFill/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45" name="Forma Livre: Forma 44">
                <a:extLst>
                  <a:ext uri="{FF2B5EF4-FFF2-40B4-BE49-F238E27FC236}">
                    <a16:creationId xmlns:a16="http://schemas.microsoft.com/office/drawing/2014/main" id="{B7B49E90-ED31-440F-A341-B687D30E30C1}"/>
                  </a:ext>
                </a:extLst>
              </p:cNvPr>
              <p:cNvSpPr/>
              <p:nvPr/>
            </p:nvSpPr>
            <p:spPr>
              <a:xfrm>
                <a:off x="6368511" y="3546805"/>
                <a:ext cx="230452" cy="357633"/>
              </a:xfrm>
              <a:custGeom>
                <a:avLst/>
                <a:gdLst>
                  <a:gd name="connsiteX0" fmla="*/ 0 w 230452"/>
                  <a:gd name="connsiteY0" fmla="*/ 38844 h 357633"/>
                  <a:gd name="connsiteX1" fmla="*/ 0 w 230452"/>
                  <a:gd name="connsiteY1" fmla="*/ 0 h 357633"/>
                  <a:gd name="connsiteX2" fmla="*/ 230453 w 230452"/>
                  <a:gd name="connsiteY2" fmla="*/ 0 h 357633"/>
                  <a:gd name="connsiteX3" fmla="*/ 230453 w 230452"/>
                  <a:gd name="connsiteY3" fmla="*/ 38844 h 357633"/>
                  <a:gd name="connsiteX4" fmla="*/ 134883 w 230452"/>
                  <a:gd name="connsiteY4" fmla="*/ 38844 h 357633"/>
                  <a:gd name="connsiteX5" fmla="*/ 134883 w 230452"/>
                  <a:gd name="connsiteY5" fmla="*/ 357634 h 357633"/>
                  <a:gd name="connsiteX6" fmla="*/ 95503 w 230452"/>
                  <a:gd name="connsiteY6" fmla="*/ 357634 h 357633"/>
                  <a:gd name="connsiteX7" fmla="*/ 95503 w 230452"/>
                  <a:gd name="connsiteY7" fmla="*/ 38844 h 357633"/>
                  <a:gd name="connsiteX8" fmla="*/ 0 w 230452"/>
                  <a:gd name="connsiteY8" fmla="*/ 38844 h 357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30452" h="357633">
                    <a:moveTo>
                      <a:pt x="0" y="38844"/>
                    </a:moveTo>
                    <a:lnTo>
                      <a:pt x="0" y="0"/>
                    </a:lnTo>
                    <a:lnTo>
                      <a:pt x="230453" y="0"/>
                    </a:lnTo>
                    <a:lnTo>
                      <a:pt x="230453" y="38844"/>
                    </a:lnTo>
                    <a:lnTo>
                      <a:pt x="134883" y="38844"/>
                    </a:lnTo>
                    <a:lnTo>
                      <a:pt x="134883" y="357634"/>
                    </a:lnTo>
                    <a:lnTo>
                      <a:pt x="95503" y="357634"/>
                    </a:lnTo>
                    <a:lnTo>
                      <a:pt x="95503" y="38844"/>
                    </a:lnTo>
                    <a:cubicBezTo>
                      <a:pt x="95503" y="38844"/>
                      <a:pt x="0" y="38844"/>
                      <a:pt x="0" y="38844"/>
                    </a:cubicBezTo>
                    <a:close/>
                  </a:path>
                </a:pathLst>
              </a:custGeom>
              <a:grpFill/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46" name="Forma Livre: Forma 45">
                <a:extLst>
                  <a:ext uri="{FF2B5EF4-FFF2-40B4-BE49-F238E27FC236}">
                    <a16:creationId xmlns:a16="http://schemas.microsoft.com/office/drawing/2014/main" id="{031EB3F5-7BD6-4585-A12E-9376E53BAE6D}"/>
                  </a:ext>
                </a:extLst>
              </p:cNvPr>
              <p:cNvSpPr/>
              <p:nvPr/>
            </p:nvSpPr>
            <p:spPr>
              <a:xfrm>
                <a:off x="6657163" y="3546871"/>
                <a:ext cx="203329" cy="357567"/>
              </a:xfrm>
              <a:custGeom>
                <a:avLst/>
                <a:gdLst>
                  <a:gd name="connsiteX0" fmla="*/ 39313 w 203329"/>
                  <a:gd name="connsiteY0" fmla="*/ 318723 h 357567"/>
                  <a:gd name="connsiteX1" fmla="*/ 203329 w 203329"/>
                  <a:gd name="connsiteY1" fmla="*/ 318723 h 357567"/>
                  <a:gd name="connsiteX2" fmla="*/ 203329 w 203329"/>
                  <a:gd name="connsiteY2" fmla="*/ 357567 h 357567"/>
                  <a:gd name="connsiteX3" fmla="*/ 0 w 203329"/>
                  <a:gd name="connsiteY3" fmla="*/ 357567 h 357567"/>
                  <a:gd name="connsiteX4" fmla="*/ 0 w 203329"/>
                  <a:gd name="connsiteY4" fmla="*/ 0 h 357567"/>
                  <a:gd name="connsiteX5" fmla="*/ 203329 w 203329"/>
                  <a:gd name="connsiteY5" fmla="*/ 0 h 357567"/>
                  <a:gd name="connsiteX6" fmla="*/ 203329 w 203329"/>
                  <a:gd name="connsiteY6" fmla="*/ 38844 h 357567"/>
                  <a:gd name="connsiteX7" fmla="*/ 39313 w 203329"/>
                  <a:gd name="connsiteY7" fmla="*/ 38844 h 357567"/>
                  <a:gd name="connsiteX8" fmla="*/ 39313 w 203329"/>
                  <a:gd name="connsiteY8" fmla="*/ 157252 h 357567"/>
                  <a:gd name="connsiteX9" fmla="*/ 167499 w 203329"/>
                  <a:gd name="connsiteY9" fmla="*/ 157252 h 357567"/>
                  <a:gd name="connsiteX10" fmla="*/ 167499 w 203329"/>
                  <a:gd name="connsiteY10" fmla="*/ 196096 h 357567"/>
                  <a:gd name="connsiteX11" fmla="*/ 39313 w 203329"/>
                  <a:gd name="connsiteY11" fmla="*/ 196096 h 357567"/>
                  <a:gd name="connsiteX12" fmla="*/ 39313 w 203329"/>
                  <a:gd name="connsiteY12" fmla="*/ 318723 h 357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3329" h="357567">
                    <a:moveTo>
                      <a:pt x="39313" y="318723"/>
                    </a:moveTo>
                    <a:lnTo>
                      <a:pt x="203329" y="318723"/>
                    </a:lnTo>
                    <a:lnTo>
                      <a:pt x="203329" y="357567"/>
                    </a:lnTo>
                    <a:lnTo>
                      <a:pt x="0" y="357567"/>
                    </a:lnTo>
                    <a:lnTo>
                      <a:pt x="0" y="0"/>
                    </a:lnTo>
                    <a:lnTo>
                      <a:pt x="203329" y="0"/>
                    </a:lnTo>
                    <a:lnTo>
                      <a:pt x="203329" y="38844"/>
                    </a:lnTo>
                    <a:lnTo>
                      <a:pt x="39313" y="38844"/>
                    </a:lnTo>
                    <a:lnTo>
                      <a:pt x="39313" y="157252"/>
                    </a:lnTo>
                    <a:lnTo>
                      <a:pt x="167499" y="157252"/>
                    </a:lnTo>
                    <a:lnTo>
                      <a:pt x="167499" y="196096"/>
                    </a:lnTo>
                    <a:lnTo>
                      <a:pt x="39313" y="196096"/>
                    </a:lnTo>
                    <a:lnTo>
                      <a:pt x="39313" y="318723"/>
                    </a:lnTo>
                    <a:close/>
                  </a:path>
                </a:pathLst>
              </a:custGeom>
              <a:grpFill/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47" name="Forma Livre: Forma 46">
                <a:extLst>
                  <a:ext uri="{FF2B5EF4-FFF2-40B4-BE49-F238E27FC236}">
                    <a16:creationId xmlns:a16="http://schemas.microsoft.com/office/drawing/2014/main" id="{AAEE6025-80D7-45E6-B8D4-D2D90D8DA214}"/>
                  </a:ext>
                </a:extLst>
              </p:cNvPr>
              <p:cNvSpPr/>
              <p:nvPr/>
            </p:nvSpPr>
            <p:spPr>
              <a:xfrm>
                <a:off x="6920232" y="3541715"/>
                <a:ext cx="230252" cy="367880"/>
              </a:xfrm>
              <a:custGeom>
                <a:avLst/>
                <a:gdLst>
                  <a:gd name="connsiteX0" fmla="*/ 230252 w 230252"/>
                  <a:gd name="connsiteY0" fmla="*/ 110907 h 367880"/>
                  <a:gd name="connsiteX1" fmla="*/ 190872 w 230252"/>
                  <a:gd name="connsiteY1" fmla="*/ 110907 h 367880"/>
                  <a:gd name="connsiteX2" fmla="*/ 115327 w 230252"/>
                  <a:gd name="connsiteY2" fmla="*/ 38911 h 367880"/>
                  <a:gd name="connsiteX3" fmla="*/ 39246 w 230252"/>
                  <a:gd name="connsiteY3" fmla="*/ 121153 h 367880"/>
                  <a:gd name="connsiteX4" fmla="*/ 39246 w 230252"/>
                  <a:gd name="connsiteY4" fmla="*/ 246861 h 367880"/>
                  <a:gd name="connsiteX5" fmla="*/ 115327 w 230252"/>
                  <a:gd name="connsiteY5" fmla="*/ 329103 h 367880"/>
                  <a:gd name="connsiteX6" fmla="*/ 190872 w 230252"/>
                  <a:gd name="connsiteY6" fmla="*/ 257108 h 367880"/>
                  <a:gd name="connsiteX7" fmla="*/ 230252 w 230252"/>
                  <a:gd name="connsiteY7" fmla="*/ 257108 h 367880"/>
                  <a:gd name="connsiteX8" fmla="*/ 115394 w 230252"/>
                  <a:gd name="connsiteY8" fmla="*/ 367881 h 367880"/>
                  <a:gd name="connsiteX9" fmla="*/ 0 w 230252"/>
                  <a:gd name="connsiteY9" fmla="*/ 246794 h 367880"/>
                  <a:gd name="connsiteX10" fmla="*/ 0 w 230252"/>
                  <a:gd name="connsiteY10" fmla="*/ 121086 h 367880"/>
                  <a:gd name="connsiteX11" fmla="*/ 115394 w 230252"/>
                  <a:gd name="connsiteY11" fmla="*/ 0 h 367880"/>
                  <a:gd name="connsiteX12" fmla="*/ 230252 w 230252"/>
                  <a:gd name="connsiteY12" fmla="*/ 110907 h 36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0252" h="367880">
                    <a:moveTo>
                      <a:pt x="230252" y="110907"/>
                    </a:moveTo>
                    <a:lnTo>
                      <a:pt x="190872" y="110907"/>
                    </a:lnTo>
                    <a:cubicBezTo>
                      <a:pt x="186787" y="63423"/>
                      <a:pt x="155041" y="38911"/>
                      <a:pt x="115327" y="38911"/>
                    </a:cubicBezTo>
                    <a:cubicBezTo>
                      <a:pt x="72933" y="38911"/>
                      <a:pt x="39246" y="66906"/>
                      <a:pt x="39246" y="121153"/>
                    </a:cubicBezTo>
                    <a:lnTo>
                      <a:pt x="39246" y="246861"/>
                    </a:lnTo>
                    <a:cubicBezTo>
                      <a:pt x="39246" y="300908"/>
                      <a:pt x="72933" y="329103"/>
                      <a:pt x="115327" y="329103"/>
                    </a:cubicBezTo>
                    <a:cubicBezTo>
                      <a:pt x="155243" y="329103"/>
                      <a:pt x="186787" y="304659"/>
                      <a:pt x="190872" y="257108"/>
                    </a:cubicBezTo>
                    <a:lnTo>
                      <a:pt x="230252" y="257108"/>
                    </a:lnTo>
                    <a:cubicBezTo>
                      <a:pt x="226167" y="326090"/>
                      <a:pt x="180759" y="367881"/>
                      <a:pt x="115394" y="367881"/>
                    </a:cubicBezTo>
                    <a:cubicBezTo>
                      <a:pt x="46948" y="367881"/>
                      <a:pt x="0" y="321938"/>
                      <a:pt x="0" y="246794"/>
                    </a:cubicBezTo>
                    <a:lnTo>
                      <a:pt x="0" y="121086"/>
                    </a:lnTo>
                    <a:cubicBezTo>
                      <a:pt x="0" y="45943"/>
                      <a:pt x="46948" y="0"/>
                      <a:pt x="115394" y="0"/>
                    </a:cubicBezTo>
                    <a:cubicBezTo>
                      <a:pt x="180826" y="-67"/>
                      <a:pt x="226167" y="41992"/>
                      <a:pt x="230252" y="110907"/>
                    </a:cubicBezTo>
                    <a:close/>
                  </a:path>
                </a:pathLst>
              </a:custGeom>
              <a:grpFill/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48" name="Forma Livre: Forma 47">
                <a:extLst>
                  <a:ext uri="{FF2B5EF4-FFF2-40B4-BE49-F238E27FC236}">
                    <a16:creationId xmlns:a16="http://schemas.microsoft.com/office/drawing/2014/main" id="{54DA449C-D15E-40A8-BA89-4D50007C9602}"/>
                  </a:ext>
                </a:extLst>
              </p:cNvPr>
              <p:cNvSpPr/>
              <p:nvPr/>
            </p:nvSpPr>
            <p:spPr>
              <a:xfrm>
                <a:off x="7218394" y="3546805"/>
                <a:ext cx="231055" cy="357566"/>
              </a:xfrm>
              <a:custGeom>
                <a:avLst/>
                <a:gdLst>
                  <a:gd name="connsiteX0" fmla="*/ 191676 w 231055"/>
                  <a:gd name="connsiteY0" fmla="*/ 0 h 357566"/>
                  <a:gd name="connsiteX1" fmla="*/ 231056 w 231055"/>
                  <a:gd name="connsiteY1" fmla="*/ 0 h 357566"/>
                  <a:gd name="connsiteX2" fmla="*/ 231056 w 231055"/>
                  <a:gd name="connsiteY2" fmla="*/ 357567 h 357566"/>
                  <a:gd name="connsiteX3" fmla="*/ 191676 w 231055"/>
                  <a:gd name="connsiteY3" fmla="*/ 357567 h 357566"/>
                  <a:gd name="connsiteX4" fmla="*/ 191676 w 231055"/>
                  <a:gd name="connsiteY4" fmla="*/ 196230 h 357566"/>
                  <a:gd name="connsiteX5" fmla="*/ 39380 w 231055"/>
                  <a:gd name="connsiteY5" fmla="*/ 196230 h 357566"/>
                  <a:gd name="connsiteX6" fmla="*/ 39380 w 231055"/>
                  <a:gd name="connsiteY6" fmla="*/ 357567 h 357566"/>
                  <a:gd name="connsiteX7" fmla="*/ 0 w 231055"/>
                  <a:gd name="connsiteY7" fmla="*/ 357567 h 357566"/>
                  <a:gd name="connsiteX8" fmla="*/ 0 w 231055"/>
                  <a:gd name="connsiteY8" fmla="*/ 0 h 357566"/>
                  <a:gd name="connsiteX9" fmla="*/ 39380 w 231055"/>
                  <a:gd name="connsiteY9" fmla="*/ 0 h 357566"/>
                  <a:gd name="connsiteX10" fmla="*/ 39380 w 231055"/>
                  <a:gd name="connsiteY10" fmla="*/ 157252 h 357566"/>
                  <a:gd name="connsiteX11" fmla="*/ 191676 w 231055"/>
                  <a:gd name="connsiteY11" fmla="*/ 157252 h 357566"/>
                  <a:gd name="connsiteX12" fmla="*/ 191676 w 231055"/>
                  <a:gd name="connsiteY12" fmla="*/ 0 h 357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1055" h="357566">
                    <a:moveTo>
                      <a:pt x="191676" y="0"/>
                    </a:moveTo>
                    <a:lnTo>
                      <a:pt x="231056" y="0"/>
                    </a:lnTo>
                    <a:lnTo>
                      <a:pt x="231056" y="357567"/>
                    </a:lnTo>
                    <a:lnTo>
                      <a:pt x="191676" y="357567"/>
                    </a:lnTo>
                    <a:lnTo>
                      <a:pt x="191676" y="196230"/>
                    </a:lnTo>
                    <a:lnTo>
                      <a:pt x="39380" y="196230"/>
                    </a:lnTo>
                    <a:lnTo>
                      <a:pt x="39380" y="357567"/>
                    </a:lnTo>
                    <a:lnTo>
                      <a:pt x="0" y="357567"/>
                    </a:lnTo>
                    <a:lnTo>
                      <a:pt x="0" y="0"/>
                    </a:lnTo>
                    <a:lnTo>
                      <a:pt x="39380" y="0"/>
                    </a:lnTo>
                    <a:lnTo>
                      <a:pt x="39380" y="157252"/>
                    </a:lnTo>
                    <a:lnTo>
                      <a:pt x="191676" y="157252"/>
                    </a:lnTo>
                    <a:lnTo>
                      <a:pt x="191676" y="0"/>
                    </a:lnTo>
                    <a:close/>
                  </a:path>
                </a:pathLst>
              </a:custGeom>
              <a:grpFill/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49" name="Forma Livre: Forma 48">
                <a:extLst>
                  <a:ext uri="{FF2B5EF4-FFF2-40B4-BE49-F238E27FC236}">
                    <a16:creationId xmlns:a16="http://schemas.microsoft.com/office/drawing/2014/main" id="{EA795648-E3A3-478D-9F8F-DA4C8E7F31C8}"/>
                  </a:ext>
                </a:extLst>
              </p:cNvPr>
              <p:cNvSpPr/>
              <p:nvPr/>
            </p:nvSpPr>
            <p:spPr>
              <a:xfrm>
                <a:off x="6368511" y="4061288"/>
                <a:ext cx="224090" cy="367747"/>
              </a:xfrm>
              <a:custGeom>
                <a:avLst/>
                <a:gdLst>
                  <a:gd name="connsiteX0" fmla="*/ 0 w 224090"/>
                  <a:gd name="connsiteY0" fmla="*/ 256907 h 367747"/>
                  <a:gd name="connsiteX1" fmla="*/ 40451 w 224090"/>
                  <a:gd name="connsiteY1" fmla="*/ 256907 h 367747"/>
                  <a:gd name="connsiteX2" fmla="*/ 115997 w 224090"/>
                  <a:gd name="connsiteY2" fmla="*/ 328903 h 367747"/>
                  <a:gd name="connsiteX3" fmla="*/ 184443 w 224090"/>
                  <a:gd name="connsiteY3" fmla="*/ 272177 h 367747"/>
                  <a:gd name="connsiteX4" fmla="*/ 126645 w 224090"/>
                  <a:gd name="connsiteY4" fmla="*/ 209424 h 367747"/>
                  <a:gd name="connsiteX5" fmla="*/ 81238 w 224090"/>
                  <a:gd name="connsiteY5" fmla="*/ 196632 h 367747"/>
                  <a:gd name="connsiteX6" fmla="*/ 6094 w 224090"/>
                  <a:gd name="connsiteY6" fmla="*/ 95034 h 367747"/>
                  <a:gd name="connsiteX7" fmla="*/ 111777 w 224090"/>
                  <a:gd name="connsiteY7" fmla="*/ 0 h 367747"/>
                  <a:gd name="connsiteX8" fmla="*/ 219536 w 224090"/>
                  <a:gd name="connsiteY8" fmla="*/ 95570 h 367747"/>
                  <a:gd name="connsiteX9" fmla="*/ 179085 w 224090"/>
                  <a:gd name="connsiteY9" fmla="*/ 95570 h 367747"/>
                  <a:gd name="connsiteX10" fmla="*/ 111710 w 224090"/>
                  <a:gd name="connsiteY10" fmla="*/ 38844 h 367747"/>
                  <a:gd name="connsiteX11" fmla="*/ 45742 w 224090"/>
                  <a:gd name="connsiteY11" fmla="*/ 95034 h 367747"/>
                  <a:gd name="connsiteX12" fmla="*/ 98919 w 224090"/>
                  <a:gd name="connsiteY12" fmla="*/ 158323 h 367747"/>
                  <a:gd name="connsiteX13" fmla="*/ 140777 w 224090"/>
                  <a:gd name="connsiteY13" fmla="*/ 170044 h 367747"/>
                  <a:gd name="connsiteX14" fmla="*/ 224091 w 224090"/>
                  <a:gd name="connsiteY14" fmla="*/ 272177 h 367747"/>
                  <a:gd name="connsiteX15" fmla="*/ 115796 w 224090"/>
                  <a:gd name="connsiteY15" fmla="*/ 367747 h 367747"/>
                  <a:gd name="connsiteX16" fmla="*/ 0 w 224090"/>
                  <a:gd name="connsiteY16" fmla="*/ 256907 h 3677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24090" h="367747">
                    <a:moveTo>
                      <a:pt x="0" y="256907"/>
                    </a:moveTo>
                    <a:lnTo>
                      <a:pt x="40451" y="256907"/>
                    </a:lnTo>
                    <a:cubicBezTo>
                      <a:pt x="46680" y="302851"/>
                      <a:pt x="77688" y="328903"/>
                      <a:pt x="115997" y="328903"/>
                    </a:cubicBezTo>
                    <a:cubicBezTo>
                      <a:pt x="156448" y="328903"/>
                      <a:pt x="184443" y="309950"/>
                      <a:pt x="184443" y="272177"/>
                    </a:cubicBezTo>
                    <a:cubicBezTo>
                      <a:pt x="184443" y="239896"/>
                      <a:pt x="167097" y="220608"/>
                      <a:pt x="126645" y="209424"/>
                    </a:cubicBezTo>
                    <a:lnTo>
                      <a:pt x="81238" y="196632"/>
                    </a:lnTo>
                    <a:cubicBezTo>
                      <a:pt x="28062" y="181764"/>
                      <a:pt x="6094" y="138500"/>
                      <a:pt x="6094" y="95034"/>
                    </a:cubicBezTo>
                    <a:cubicBezTo>
                      <a:pt x="6094" y="33687"/>
                      <a:pt x="54650" y="0"/>
                      <a:pt x="111777" y="0"/>
                    </a:cubicBezTo>
                    <a:cubicBezTo>
                      <a:pt x="173660" y="0"/>
                      <a:pt x="211969" y="34759"/>
                      <a:pt x="219536" y="95570"/>
                    </a:cubicBezTo>
                    <a:lnTo>
                      <a:pt x="179085" y="95570"/>
                    </a:lnTo>
                    <a:cubicBezTo>
                      <a:pt x="171450" y="61347"/>
                      <a:pt x="150019" y="38844"/>
                      <a:pt x="111710" y="38844"/>
                    </a:cubicBezTo>
                    <a:cubicBezTo>
                      <a:pt x="68781" y="38844"/>
                      <a:pt x="45742" y="63825"/>
                      <a:pt x="45742" y="95034"/>
                    </a:cubicBezTo>
                    <a:cubicBezTo>
                      <a:pt x="45742" y="127650"/>
                      <a:pt x="62084" y="148211"/>
                      <a:pt x="98919" y="158323"/>
                    </a:cubicBezTo>
                    <a:lnTo>
                      <a:pt x="140777" y="170044"/>
                    </a:lnTo>
                    <a:cubicBezTo>
                      <a:pt x="191274" y="184376"/>
                      <a:pt x="224091" y="215451"/>
                      <a:pt x="224091" y="272177"/>
                    </a:cubicBezTo>
                    <a:cubicBezTo>
                      <a:pt x="224091" y="329439"/>
                      <a:pt x="187389" y="367747"/>
                      <a:pt x="115796" y="367747"/>
                    </a:cubicBezTo>
                    <a:cubicBezTo>
                      <a:pt x="51234" y="367680"/>
                      <a:pt x="5090" y="325353"/>
                      <a:pt x="0" y="256907"/>
                    </a:cubicBezTo>
                    <a:close/>
                  </a:path>
                </a:pathLst>
              </a:custGeom>
              <a:grpFill/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50" name="Forma Livre: Forma 49">
                <a:extLst>
                  <a:ext uri="{FF2B5EF4-FFF2-40B4-BE49-F238E27FC236}">
                    <a16:creationId xmlns:a16="http://schemas.microsoft.com/office/drawing/2014/main" id="{89A75EC2-FBC3-44BF-ADB2-84851432ACF6}"/>
                  </a:ext>
                </a:extLst>
              </p:cNvPr>
              <p:cNvSpPr/>
              <p:nvPr/>
            </p:nvSpPr>
            <p:spPr>
              <a:xfrm>
                <a:off x="6650600" y="4061154"/>
                <a:ext cx="230252" cy="367880"/>
              </a:xfrm>
              <a:custGeom>
                <a:avLst/>
                <a:gdLst>
                  <a:gd name="connsiteX0" fmla="*/ 230252 w 230252"/>
                  <a:gd name="connsiteY0" fmla="*/ 110907 h 367880"/>
                  <a:gd name="connsiteX1" fmla="*/ 190872 w 230252"/>
                  <a:gd name="connsiteY1" fmla="*/ 110907 h 367880"/>
                  <a:gd name="connsiteX2" fmla="*/ 115327 w 230252"/>
                  <a:gd name="connsiteY2" fmla="*/ 38911 h 367880"/>
                  <a:gd name="connsiteX3" fmla="*/ 39246 w 230252"/>
                  <a:gd name="connsiteY3" fmla="*/ 121153 h 367880"/>
                  <a:gd name="connsiteX4" fmla="*/ 39246 w 230252"/>
                  <a:gd name="connsiteY4" fmla="*/ 246861 h 367880"/>
                  <a:gd name="connsiteX5" fmla="*/ 115327 w 230252"/>
                  <a:gd name="connsiteY5" fmla="*/ 329104 h 367880"/>
                  <a:gd name="connsiteX6" fmla="*/ 190872 w 230252"/>
                  <a:gd name="connsiteY6" fmla="*/ 257108 h 367880"/>
                  <a:gd name="connsiteX7" fmla="*/ 230252 w 230252"/>
                  <a:gd name="connsiteY7" fmla="*/ 257108 h 367880"/>
                  <a:gd name="connsiteX8" fmla="*/ 115394 w 230252"/>
                  <a:gd name="connsiteY8" fmla="*/ 367881 h 367880"/>
                  <a:gd name="connsiteX9" fmla="*/ 0 w 230252"/>
                  <a:gd name="connsiteY9" fmla="*/ 246794 h 367880"/>
                  <a:gd name="connsiteX10" fmla="*/ 0 w 230252"/>
                  <a:gd name="connsiteY10" fmla="*/ 121086 h 367880"/>
                  <a:gd name="connsiteX11" fmla="*/ 115394 w 230252"/>
                  <a:gd name="connsiteY11" fmla="*/ 0 h 367880"/>
                  <a:gd name="connsiteX12" fmla="*/ 230252 w 230252"/>
                  <a:gd name="connsiteY12" fmla="*/ 110907 h 36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0252" h="367880">
                    <a:moveTo>
                      <a:pt x="230252" y="110907"/>
                    </a:moveTo>
                    <a:lnTo>
                      <a:pt x="190872" y="110907"/>
                    </a:lnTo>
                    <a:cubicBezTo>
                      <a:pt x="186787" y="63423"/>
                      <a:pt x="155042" y="38911"/>
                      <a:pt x="115327" y="38911"/>
                    </a:cubicBezTo>
                    <a:cubicBezTo>
                      <a:pt x="72933" y="38911"/>
                      <a:pt x="39246" y="66906"/>
                      <a:pt x="39246" y="121153"/>
                    </a:cubicBezTo>
                    <a:lnTo>
                      <a:pt x="39246" y="246861"/>
                    </a:lnTo>
                    <a:cubicBezTo>
                      <a:pt x="39246" y="300908"/>
                      <a:pt x="72933" y="329104"/>
                      <a:pt x="115327" y="329104"/>
                    </a:cubicBezTo>
                    <a:cubicBezTo>
                      <a:pt x="155243" y="329104"/>
                      <a:pt x="186787" y="304659"/>
                      <a:pt x="190872" y="257108"/>
                    </a:cubicBezTo>
                    <a:lnTo>
                      <a:pt x="230252" y="257108"/>
                    </a:lnTo>
                    <a:cubicBezTo>
                      <a:pt x="226167" y="326090"/>
                      <a:pt x="180759" y="367881"/>
                      <a:pt x="115394" y="367881"/>
                    </a:cubicBezTo>
                    <a:cubicBezTo>
                      <a:pt x="46948" y="367881"/>
                      <a:pt x="0" y="321938"/>
                      <a:pt x="0" y="246794"/>
                    </a:cubicBezTo>
                    <a:lnTo>
                      <a:pt x="0" y="121086"/>
                    </a:lnTo>
                    <a:cubicBezTo>
                      <a:pt x="0" y="45943"/>
                      <a:pt x="46948" y="0"/>
                      <a:pt x="115394" y="0"/>
                    </a:cubicBezTo>
                    <a:cubicBezTo>
                      <a:pt x="180759" y="-67"/>
                      <a:pt x="226167" y="41992"/>
                      <a:pt x="230252" y="110907"/>
                    </a:cubicBezTo>
                    <a:close/>
                  </a:path>
                </a:pathLst>
              </a:custGeom>
              <a:grpFill/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51" name="Forma Livre: Forma 50">
                <a:extLst>
                  <a:ext uri="{FF2B5EF4-FFF2-40B4-BE49-F238E27FC236}">
                    <a16:creationId xmlns:a16="http://schemas.microsoft.com/office/drawing/2014/main" id="{20E4BCCC-227A-4200-A18B-A4506F2166AF}"/>
                  </a:ext>
                </a:extLst>
              </p:cNvPr>
              <p:cNvSpPr/>
              <p:nvPr/>
            </p:nvSpPr>
            <p:spPr>
              <a:xfrm>
                <a:off x="6948695" y="4066244"/>
                <a:ext cx="231055" cy="357566"/>
              </a:xfrm>
              <a:custGeom>
                <a:avLst/>
                <a:gdLst>
                  <a:gd name="connsiteX0" fmla="*/ 191676 w 231055"/>
                  <a:gd name="connsiteY0" fmla="*/ 0 h 357566"/>
                  <a:gd name="connsiteX1" fmla="*/ 231056 w 231055"/>
                  <a:gd name="connsiteY1" fmla="*/ 0 h 357566"/>
                  <a:gd name="connsiteX2" fmla="*/ 231056 w 231055"/>
                  <a:gd name="connsiteY2" fmla="*/ 357567 h 357566"/>
                  <a:gd name="connsiteX3" fmla="*/ 191676 w 231055"/>
                  <a:gd name="connsiteY3" fmla="*/ 357567 h 357566"/>
                  <a:gd name="connsiteX4" fmla="*/ 191676 w 231055"/>
                  <a:gd name="connsiteY4" fmla="*/ 196230 h 357566"/>
                  <a:gd name="connsiteX5" fmla="*/ 39380 w 231055"/>
                  <a:gd name="connsiteY5" fmla="*/ 196230 h 357566"/>
                  <a:gd name="connsiteX6" fmla="*/ 39380 w 231055"/>
                  <a:gd name="connsiteY6" fmla="*/ 357567 h 357566"/>
                  <a:gd name="connsiteX7" fmla="*/ 0 w 231055"/>
                  <a:gd name="connsiteY7" fmla="*/ 357567 h 357566"/>
                  <a:gd name="connsiteX8" fmla="*/ 0 w 231055"/>
                  <a:gd name="connsiteY8" fmla="*/ 0 h 357566"/>
                  <a:gd name="connsiteX9" fmla="*/ 39380 w 231055"/>
                  <a:gd name="connsiteY9" fmla="*/ 0 h 357566"/>
                  <a:gd name="connsiteX10" fmla="*/ 39380 w 231055"/>
                  <a:gd name="connsiteY10" fmla="*/ 157252 h 357566"/>
                  <a:gd name="connsiteX11" fmla="*/ 191676 w 231055"/>
                  <a:gd name="connsiteY11" fmla="*/ 157252 h 357566"/>
                  <a:gd name="connsiteX12" fmla="*/ 191676 w 231055"/>
                  <a:gd name="connsiteY12" fmla="*/ 0 h 357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1055" h="357566">
                    <a:moveTo>
                      <a:pt x="191676" y="0"/>
                    </a:moveTo>
                    <a:lnTo>
                      <a:pt x="231056" y="0"/>
                    </a:lnTo>
                    <a:lnTo>
                      <a:pt x="231056" y="357567"/>
                    </a:lnTo>
                    <a:lnTo>
                      <a:pt x="191676" y="357567"/>
                    </a:lnTo>
                    <a:lnTo>
                      <a:pt x="191676" y="196230"/>
                    </a:lnTo>
                    <a:lnTo>
                      <a:pt x="39380" y="196230"/>
                    </a:lnTo>
                    <a:lnTo>
                      <a:pt x="39380" y="357567"/>
                    </a:lnTo>
                    <a:lnTo>
                      <a:pt x="0" y="357567"/>
                    </a:lnTo>
                    <a:lnTo>
                      <a:pt x="0" y="0"/>
                    </a:lnTo>
                    <a:lnTo>
                      <a:pt x="39380" y="0"/>
                    </a:lnTo>
                    <a:lnTo>
                      <a:pt x="39380" y="157252"/>
                    </a:lnTo>
                    <a:lnTo>
                      <a:pt x="191676" y="157252"/>
                    </a:lnTo>
                    <a:lnTo>
                      <a:pt x="191676" y="0"/>
                    </a:lnTo>
                    <a:close/>
                  </a:path>
                </a:pathLst>
              </a:custGeom>
              <a:grpFill/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52" name="Forma Livre: Forma 51">
                <a:extLst>
                  <a:ext uri="{FF2B5EF4-FFF2-40B4-BE49-F238E27FC236}">
                    <a16:creationId xmlns:a16="http://schemas.microsoft.com/office/drawing/2014/main" id="{72F445B3-EA5B-43CB-A795-3E1E885A78E7}"/>
                  </a:ext>
                </a:extLst>
              </p:cNvPr>
              <p:cNvSpPr/>
              <p:nvPr/>
            </p:nvSpPr>
            <p:spPr>
              <a:xfrm>
                <a:off x="7249269" y="4061087"/>
                <a:ext cx="230787" cy="367880"/>
              </a:xfrm>
              <a:custGeom>
                <a:avLst/>
                <a:gdLst>
                  <a:gd name="connsiteX0" fmla="*/ 230788 w 230787"/>
                  <a:gd name="connsiteY0" fmla="*/ 246794 h 367880"/>
                  <a:gd name="connsiteX1" fmla="*/ 115394 w 230787"/>
                  <a:gd name="connsiteY1" fmla="*/ 367881 h 367880"/>
                  <a:gd name="connsiteX2" fmla="*/ 0 w 230787"/>
                  <a:gd name="connsiteY2" fmla="*/ 246794 h 367880"/>
                  <a:gd name="connsiteX3" fmla="*/ 0 w 230787"/>
                  <a:gd name="connsiteY3" fmla="*/ 121087 h 367880"/>
                  <a:gd name="connsiteX4" fmla="*/ 115394 w 230787"/>
                  <a:gd name="connsiteY4" fmla="*/ 0 h 367880"/>
                  <a:gd name="connsiteX5" fmla="*/ 230788 w 230787"/>
                  <a:gd name="connsiteY5" fmla="*/ 121087 h 367880"/>
                  <a:gd name="connsiteX6" fmla="*/ 230788 w 230787"/>
                  <a:gd name="connsiteY6" fmla="*/ 246794 h 367880"/>
                  <a:gd name="connsiteX7" fmla="*/ 191475 w 230787"/>
                  <a:gd name="connsiteY7" fmla="*/ 121087 h 367880"/>
                  <a:gd name="connsiteX8" fmla="*/ 115394 w 230787"/>
                  <a:gd name="connsiteY8" fmla="*/ 38844 h 367880"/>
                  <a:gd name="connsiteX9" fmla="*/ 39313 w 230787"/>
                  <a:gd name="connsiteY9" fmla="*/ 121087 h 367880"/>
                  <a:gd name="connsiteX10" fmla="*/ 39313 w 230787"/>
                  <a:gd name="connsiteY10" fmla="*/ 246794 h 367880"/>
                  <a:gd name="connsiteX11" fmla="*/ 115394 w 230787"/>
                  <a:gd name="connsiteY11" fmla="*/ 329037 h 367880"/>
                  <a:gd name="connsiteX12" fmla="*/ 191475 w 230787"/>
                  <a:gd name="connsiteY12" fmla="*/ 246794 h 367880"/>
                  <a:gd name="connsiteX13" fmla="*/ 191475 w 230787"/>
                  <a:gd name="connsiteY13" fmla="*/ 121087 h 36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30787" h="367880">
                    <a:moveTo>
                      <a:pt x="230788" y="246794"/>
                    </a:moveTo>
                    <a:cubicBezTo>
                      <a:pt x="230788" y="321938"/>
                      <a:pt x="183840" y="367881"/>
                      <a:pt x="115394" y="367881"/>
                    </a:cubicBezTo>
                    <a:cubicBezTo>
                      <a:pt x="46948" y="367881"/>
                      <a:pt x="0" y="321938"/>
                      <a:pt x="0" y="246794"/>
                    </a:cubicBezTo>
                    <a:lnTo>
                      <a:pt x="0" y="121087"/>
                    </a:lnTo>
                    <a:cubicBezTo>
                      <a:pt x="0" y="45943"/>
                      <a:pt x="46948" y="0"/>
                      <a:pt x="115394" y="0"/>
                    </a:cubicBezTo>
                    <a:cubicBezTo>
                      <a:pt x="183840" y="0"/>
                      <a:pt x="230788" y="45943"/>
                      <a:pt x="230788" y="121087"/>
                    </a:cubicBezTo>
                    <a:lnTo>
                      <a:pt x="230788" y="246794"/>
                    </a:lnTo>
                    <a:close/>
                    <a:moveTo>
                      <a:pt x="191475" y="121087"/>
                    </a:moveTo>
                    <a:cubicBezTo>
                      <a:pt x="191475" y="67040"/>
                      <a:pt x="157788" y="38844"/>
                      <a:pt x="115394" y="38844"/>
                    </a:cubicBezTo>
                    <a:cubicBezTo>
                      <a:pt x="73000" y="38844"/>
                      <a:pt x="39313" y="66839"/>
                      <a:pt x="39313" y="121087"/>
                    </a:cubicBezTo>
                    <a:lnTo>
                      <a:pt x="39313" y="246794"/>
                    </a:lnTo>
                    <a:cubicBezTo>
                      <a:pt x="39313" y="300841"/>
                      <a:pt x="73000" y="329037"/>
                      <a:pt x="115394" y="329037"/>
                    </a:cubicBezTo>
                    <a:cubicBezTo>
                      <a:pt x="157788" y="329037"/>
                      <a:pt x="191475" y="301042"/>
                      <a:pt x="191475" y="246794"/>
                    </a:cubicBezTo>
                    <a:lnTo>
                      <a:pt x="191475" y="121087"/>
                    </a:lnTo>
                    <a:close/>
                  </a:path>
                </a:pathLst>
              </a:custGeom>
              <a:grpFill/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53" name="Forma Livre: Forma 52">
                <a:extLst>
                  <a:ext uri="{FF2B5EF4-FFF2-40B4-BE49-F238E27FC236}">
                    <a16:creationId xmlns:a16="http://schemas.microsoft.com/office/drawing/2014/main" id="{129AC223-AEE5-4B3B-834B-E300FFB1C96E}"/>
                  </a:ext>
                </a:extLst>
              </p:cNvPr>
              <p:cNvSpPr/>
              <p:nvPr/>
            </p:nvSpPr>
            <p:spPr>
              <a:xfrm>
                <a:off x="7539327" y="4061087"/>
                <a:ext cx="230787" cy="367880"/>
              </a:xfrm>
              <a:custGeom>
                <a:avLst/>
                <a:gdLst>
                  <a:gd name="connsiteX0" fmla="*/ 230788 w 230787"/>
                  <a:gd name="connsiteY0" fmla="*/ 246794 h 367880"/>
                  <a:gd name="connsiteX1" fmla="*/ 115394 w 230787"/>
                  <a:gd name="connsiteY1" fmla="*/ 367881 h 367880"/>
                  <a:gd name="connsiteX2" fmla="*/ 0 w 230787"/>
                  <a:gd name="connsiteY2" fmla="*/ 246794 h 367880"/>
                  <a:gd name="connsiteX3" fmla="*/ 0 w 230787"/>
                  <a:gd name="connsiteY3" fmla="*/ 121087 h 367880"/>
                  <a:gd name="connsiteX4" fmla="*/ 115394 w 230787"/>
                  <a:gd name="connsiteY4" fmla="*/ 0 h 367880"/>
                  <a:gd name="connsiteX5" fmla="*/ 230788 w 230787"/>
                  <a:gd name="connsiteY5" fmla="*/ 121087 h 367880"/>
                  <a:gd name="connsiteX6" fmla="*/ 230788 w 230787"/>
                  <a:gd name="connsiteY6" fmla="*/ 246794 h 367880"/>
                  <a:gd name="connsiteX7" fmla="*/ 191408 w 230787"/>
                  <a:gd name="connsiteY7" fmla="*/ 121087 h 367880"/>
                  <a:gd name="connsiteX8" fmla="*/ 115327 w 230787"/>
                  <a:gd name="connsiteY8" fmla="*/ 38844 h 367880"/>
                  <a:gd name="connsiteX9" fmla="*/ 39246 w 230787"/>
                  <a:gd name="connsiteY9" fmla="*/ 121087 h 367880"/>
                  <a:gd name="connsiteX10" fmla="*/ 39246 w 230787"/>
                  <a:gd name="connsiteY10" fmla="*/ 246794 h 367880"/>
                  <a:gd name="connsiteX11" fmla="*/ 115327 w 230787"/>
                  <a:gd name="connsiteY11" fmla="*/ 329037 h 367880"/>
                  <a:gd name="connsiteX12" fmla="*/ 191408 w 230787"/>
                  <a:gd name="connsiteY12" fmla="*/ 246794 h 367880"/>
                  <a:gd name="connsiteX13" fmla="*/ 191408 w 230787"/>
                  <a:gd name="connsiteY13" fmla="*/ 121087 h 36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30787" h="367880">
                    <a:moveTo>
                      <a:pt x="230788" y="246794"/>
                    </a:moveTo>
                    <a:cubicBezTo>
                      <a:pt x="230788" y="321938"/>
                      <a:pt x="183840" y="367881"/>
                      <a:pt x="115394" y="367881"/>
                    </a:cubicBezTo>
                    <a:cubicBezTo>
                      <a:pt x="46948" y="367881"/>
                      <a:pt x="0" y="321938"/>
                      <a:pt x="0" y="246794"/>
                    </a:cubicBezTo>
                    <a:lnTo>
                      <a:pt x="0" y="121087"/>
                    </a:lnTo>
                    <a:cubicBezTo>
                      <a:pt x="0" y="45943"/>
                      <a:pt x="46948" y="0"/>
                      <a:pt x="115394" y="0"/>
                    </a:cubicBezTo>
                    <a:cubicBezTo>
                      <a:pt x="183840" y="0"/>
                      <a:pt x="230788" y="45943"/>
                      <a:pt x="230788" y="121087"/>
                    </a:cubicBezTo>
                    <a:lnTo>
                      <a:pt x="230788" y="246794"/>
                    </a:lnTo>
                    <a:close/>
                    <a:moveTo>
                      <a:pt x="191408" y="121087"/>
                    </a:moveTo>
                    <a:cubicBezTo>
                      <a:pt x="191408" y="67040"/>
                      <a:pt x="157721" y="38844"/>
                      <a:pt x="115327" y="38844"/>
                    </a:cubicBezTo>
                    <a:cubicBezTo>
                      <a:pt x="72933" y="38844"/>
                      <a:pt x="39246" y="66839"/>
                      <a:pt x="39246" y="121087"/>
                    </a:cubicBezTo>
                    <a:lnTo>
                      <a:pt x="39246" y="246794"/>
                    </a:lnTo>
                    <a:cubicBezTo>
                      <a:pt x="39246" y="300841"/>
                      <a:pt x="72933" y="329037"/>
                      <a:pt x="115327" y="329037"/>
                    </a:cubicBezTo>
                    <a:cubicBezTo>
                      <a:pt x="157721" y="329037"/>
                      <a:pt x="191408" y="301042"/>
                      <a:pt x="191408" y="246794"/>
                    </a:cubicBezTo>
                    <a:lnTo>
                      <a:pt x="191408" y="121087"/>
                    </a:lnTo>
                    <a:close/>
                  </a:path>
                </a:pathLst>
              </a:custGeom>
              <a:grpFill/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54" name="Forma Livre: Forma 53">
                <a:extLst>
                  <a:ext uri="{FF2B5EF4-FFF2-40B4-BE49-F238E27FC236}">
                    <a16:creationId xmlns:a16="http://schemas.microsoft.com/office/drawing/2014/main" id="{11F4D66E-F1F6-40C9-84E5-D7108FC134A4}"/>
                  </a:ext>
                </a:extLst>
              </p:cNvPr>
              <p:cNvSpPr/>
              <p:nvPr/>
            </p:nvSpPr>
            <p:spPr>
              <a:xfrm>
                <a:off x="7841575" y="4066244"/>
                <a:ext cx="203328" cy="357633"/>
              </a:xfrm>
              <a:custGeom>
                <a:avLst/>
                <a:gdLst>
                  <a:gd name="connsiteX0" fmla="*/ 0 w 203328"/>
                  <a:gd name="connsiteY0" fmla="*/ 0 h 357633"/>
                  <a:gd name="connsiteX1" fmla="*/ 39380 w 203328"/>
                  <a:gd name="connsiteY1" fmla="*/ 0 h 357633"/>
                  <a:gd name="connsiteX2" fmla="*/ 39380 w 203328"/>
                  <a:gd name="connsiteY2" fmla="*/ 318790 h 357633"/>
                  <a:gd name="connsiteX3" fmla="*/ 203329 w 203328"/>
                  <a:gd name="connsiteY3" fmla="*/ 318790 h 357633"/>
                  <a:gd name="connsiteX4" fmla="*/ 203329 w 203328"/>
                  <a:gd name="connsiteY4" fmla="*/ 357634 h 357633"/>
                  <a:gd name="connsiteX5" fmla="*/ 0 w 203328"/>
                  <a:gd name="connsiteY5" fmla="*/ 357634 h 357633"/>
                  <a:gd name="connsiteX6" fmla="*/ 0 w 203328"/>
                  <a:gd name="connsiteY6" fmla="*/ 0 h 357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3328" h="357633">
                    <a:moveTo>
                      <a:pt x="0" y="0"/>
                    </a:moveTo>
                    <a:lnTo>
                      <a:pt x="39380" y="0"/>
                    </a:lnTo>
                    <a:lnTo>
                      <a:pt x="39380" y="318790"/>
                    </a:lnTo>
                    <a:lnTo>
                      <a:pt x="203329" y="318790"/>
                    </a:lnTo>
                    <a:lnTo>
                      <a:pt x="203329" y="357634"/>
                    </a:lnTo>
                    <a:lnTo>
                      <a:pt x="0" y="35763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</p:grpSp>
        <p:grpSp>
          <p:nvGrpSpPr>
            <p:cNvPr id="29" name="Gráfico 3">
              <a:extLst>
                <a:ext uri="{FF2B5EF4-FFF2-40B4-BE49-F238E27FC236}">
                  <a16:creationId xmlns:a16="http://schemas.microsoft.com/office/drawing/2014/main" id="{96308F0D-244D-4164-8CFA-D2D67AB10006}"/>
                </a:ext>
              </a:extLst>
            </p:cNvPr>
            <p:cNvGrpSpPr/>
            <p:nvPr/>
          </p:nvGrpSpPr>
          <p:grpSpPr>
            <a:xfrm>
              <a:off x="2810005" y="5393670"/>
              <a:ext cx="1027042" cy="1028078"/>
              <a:chOff x="4147095" y="2502567"/>
              <a:chExt cx="1925329" cy="1927272"/>
            </a:xfrm>
            <a:solidFill>
              <a:srgbClr val="D0D3D4"/>
            </a:solidFill>
          </p:grpSpPr>
          <p:sp>
            <p:nvSpPr>
              <p:cNvPr id="35" name="Forma Livre: Forma 34">
                <a:extLst>
                  <a:ext uri="{FF2B5EF4-FFF2-40B4-BE49-F238E27FC236}">
                    <a16:creationId xmlns:a16="http://schemas.microsoft.com/office/drawing/2014/main" id="{5EAB7DF8-6646-45F4-AFCE-0DF4291D0626}"/>
                  </a:ext>
                </a:extLst>
              </p:cNvPr>
              <p:cNvSpPr/>
              <p:nvPr/>
            </p:nvSpPr>
            <p:spPr>
              <a:xfrm>
                <a:off x="4625615" y="3946899"/>
                <a:ext cx="482939" cy="482939"/>
              </a:xfrm>
              <a:custGeom>
                <a:avLst/>
                <a:gdLst>
                  <a:gd name="connsiteX0" fmla="*/ 0 w 482939"/>
                  <a:gd name="connsiteY0" fmla="*/ 482940 h 482939"/>
                  <a:gd name="connsiteX1" fmla="*/ 63490 w 482939"/>
                  <a:gd name="connsiteY1" fmla="*/ 482940 h 482939"/>
                  <a:gd name="connsiteX2" fmla="*/ 482940 w 482939"/>
                  <a:gd name="connsiteY2" fmla="*/ 482940 h 482939"/>
                  <a:gd name="connsiteX3" fmla="*/ 482940 w 482939"/>
                  <a:gd name="connsiteY3" fmla="*/ 0 h 482939"/>
                  <a:gd name="connsiteX4" fmla="*/ 0 w 482939"/>
                  <a:gd name="connsiteY4" fmla="*/ 482940 h 4829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2939" h="482939">
                    <a:moveTo>
                      <a:pt x="0" y="482940"/>
                    </a:moveTo>
                    <a:lnTo>
                      <a:pt x="63490" y="482940"/>
                    </a:lnTo>
                    <a:lnTo>
                      <a:pt x="482940" y="482940"/>
                    </a:lnTo>
                    <a:lnTo>
                      <a:pt x="482940" y="0"/>
                    </a:lnTo>
                    <a:cubicBezTo>
                      <a:pt x="482873" y="266685"/>
                      <a:pt x="266618" y="482940"/>
                      <a:pt x="0" y="482940"/>
                    </a:cubicBezTo>
                    <a:close/>
                  </a:path>
                </a:pathLst>
              </a:custGeom>
              <a:solidFill>
                <a:srgbClr val="D0D3D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36" name="Forma Livre: Forma 35">
                <a:extLst>
                  <a:ext uri="{FF2B5EF4-FFF2-40B4-BE49-F238E27FC236}">
                    <a16:creationId xmlns:a16="http://schemas.microsoft.com/office/drawing/2014/main" id="{BEEC8785-9CAA-4019-96AF-01CAF16644C4}"/>
                  </a:ext>
                </a:extLst>
              </p:cNvPr>
              <p:cNvSpPr/>
              <p:nvPr/>
            </p:nvSpPr>
            <p:spPr>
              <a:xfrm>
                <a:off x="4147095" y="2502567"/>
                <a:ext cx="1925329" cy="1927137"/>
              </a:xfrm>
              <a:custGeom>
                <a:avLst/>
                <a:gdLst>
                  <a:gd name="connsiteX0" fmla="*/ 0 w 1925329"/>
                  <a:gd name="connsiteY0" fmla="*/ 0 h 1927137"/>
                  <a:gd name="connsiteX1" fmla="*/ 0 w 1925329"/>
                  <a:gd name="connsiteY1" fmla="*/ 961392 h 1927137"/>
                  <a:gd name="connsiteX2" fmla="*/ 478520 w 1925329"/>
                  <a:gd name="connsiteY2" fmla="*/ 961392 h 1927137"/>
                  <a:gd name="connsiteX3" fmla="*/ 552123 w 1925329"/>
                  <a:gd name="connsiteY3" fmla="*/ 966884 h 1927137"/>
                  <a:gd name="connsiteX4" fmla="*/ 687943 w 1925329"/>
                  <a:gd name="connsiteY4" fmla="*/ 1008876 h 1927137"/>
                  <a:gd name="connsiteX5" fmla="*/ 728863 w 1925329"/>
                  <a:gd name="connsiteY5" fmla="*/ 1031245 h 1927137"/>
                  <a:gd name="connsiteX6" fmla="*/ 785589 w 1925329"/>
                  <a:gd name="connsiteY6" fmla="*/ 1071696 h 1927137"/>
                  <a:gd name="connsiteX7" fmla="*/ 878815 w 1925329"/>
                  <a:gd name="connsiteY7" fmla="*/ 1174366 h 1927137"/>
                  <a:gd name="connsiteX8" fmla="*/ 902925 w 1925329"/>
                  <a:gd name="connsiteY8" fmla="*/ 1214281 h 1927137"/>
                  <a:gd name="connsiteX9" fmla="*/ 923285 w 1925329"/>
                  <a:gd name="connsiteY9" fmla="*/ 1256474 h 1927137"/>
                  <a:gd name="connsiteX10" fmla="*/ 945989 w 1925329"/>
                  <a:gd name="connsiteY10" fmla="*/ 1323648 h 1927137"/>
                  <a:gd name="connsiteX11" fmla="*/ 961259 w 1925329"/>
                  <a:gd name="connsiteY11" fmla="*/ 1444399 h 1927137"/>
                  <a:gd name="connsiteX12" fmla="*/ 961259 w 1925329"/>
                  <a:gd name="connsiteY12" fmla="*/ 1141750 h 1927137"/>
                  <a:gd name="connsiteX13" fmla="*/ 1261765 w 1925329"/>
                  <a:gd name="connsiteY13" fmla="*/ 1141750 h 1927137"/>
                  <a:gd name="connsiteX14" fmla="*/ 1261765 w 1925329"/>
                  <a:gd name="connsiteY14" fmla="*/ 1927138 h 1927137"/>
                  <a:gd name="connsiteX15" fmla="*/ 1925330 w 1925329"/>
                  <a:gd name="connsiteY15" fmla="*/ 1927138 h 1927137"/>
                  <a:gd name="connsiteX16" fmla="*/ 1925330 w 1925329"/>
                  <a:gd name="connsiteY16" fmla="*/ 1927138 h 1927137"/>
                  <a:gd name="connsiteX17" fmla="*/ 1925330 w 1925329"/>
                  <a:gd name="connsiteY17" fmla="*/ 0 h 1927137"/>
                  <a:gd name="connsiteX18" fmla="*/ 0 w 1925329"/>
                  <a:gd name="connsiteY18" fmla="*/ 0 h 1927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25329" h="1927137">
                    <a:moveTo>
                      <a:pt x="0" y="0"/>
                    </a:moveTo>
                    <a:lnTo>
                      <a:pt x="0" y="961392"/>
                    </a:lnTo>
                    <a:lnTo>
                      <a:pt x="478520" y="961392"/>
                    </a:lnTo>
                    <a:cubicBezTo>
                      <a:pt x="503500" y="961392"/>
                      <a:pt x="528146" y="963335"/>
                      <a:pt x="552123" y="966884"/>
                    </a:cubicBezTo>
                    <a:cubicBezTo>
                      <a:pt x="600008" y="974184"/>
                      <a:pt x="645750" y="988516"/>
                      <a:pt x="687943" y="1008876"/>
                    </a:cubicBezTo>
                    <a:cubicBezTo>
                      <a:pt x="701940" y="1015640"/>
                      <a:pt x="715804" y="1023074"/>
                      <a:pt x="728863" y="1031245"/>
                    </a:cubicBezTo>
                    <a:cubicBezTo>
                      <a:pt x="748687" y="1043300"/>
                      <a:pt x="767708" y="1056762"/>
                      <a:pt x="785589" y="1071696"/>
                    </a:cubicBezTo>
                    <a:cubicBezTo>
                      <a:pt x="821420" y="1101298"/>
                      <a:pt x="852763" y="1135856"/>
                      <a:pt x="878815" y="1174366"/>
                    </a:cubicBezTo>
                    <a:cubicBezTo>
                      <a:pt x="887522" y="1187157"/>
                      <a:pt x="895491" y="1200418"/>
                      <a:pt x="902925" y="1214281"/>
                    </a:cubicBezTo>
                    <a:cubicBezTo>
                      <a:pt x="910359" y="1227944"/>
                      <a:pt x="917124" y="1242142"/>
                      <a:pt x="923285" y="1256474"/>
                    </a:cubicBezTo>
                    <a:cubicBezTo>
                      <a:pt x="932527" y="1278106"/>
                      <a:pt x="940095" y="1300609"/>
                      <a:pt x="945989" y="1323648"/>
                    </a:cubicBezTo>
                    <a:cubicBezTo>
                      <a:pt x="955901" y="1362291"/>
                      <a:pt x="961259" y="1402742"/>
                      <a:pt x="961259" y="1444399"/>
                    </a:cubicBezTo>
                    <a:lnTo>
                      <a:pt x="961259" y="1141750"/>
                    </a:lnTo>
                    <a:lnTo>
                      <a:pt x="1261765" y="1141750"/>
                    </a:lnTo>
                    <a:lnTo>
                      <a:pt x="1261765" y="1927138"/>
                    </a:lnTo>
                    <a:lnTo>
                      <a:pt x="1925330" y="1927138"/>
                    </a:lnTo>
                    <a:lnTo>
                      <a:pt x="1925330" y="1927138"/>
                    </a:lnTo>
                    <a:lnTo>
                      <a:pt x="192533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0D3D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</p:grpSp>
        <p:sp>
          <p:nvSpPr>
            <p:cNvPr id="30" name="Forma Livre: Forma 29">
              <a:extLst>
                <a:ext uri="{FF2B5EF4-FFF2-40B4-BE49-F238E27FC236}">
                  <a16:creationId xmlns:a16="http://schemas.microsoft.com/office/drawing/2014/main" id="{91FD7854-E96A-4D1E-80C7-3DD74D810722}"/>
                </a:ext>
              </a:extLst>
            </p:cNvPr>
            <p:cNvSpPr/>
            <p:nvPr/>
          </p:nvSpPr>
          <p:spPr>
            <a:xfrm>
              <a:off x="3322848" y="6002722"/>
              <a:ext cx="160301" cy="418955"/>
            </a:xfrm>
            <a:custGeom>
              <a:avLst/>
              <a:gdLst>
                <a:gd name="connsiteX0" fmla="*/ 0 w 300506"/>
                <a:gd name="connsiteY0" fmla="*/ 0 h 785388"/>
                <a:gd name="connsiteX1" fmla="*/ 300506 w 300506"/>
                <a:gd name="connsiteY1" fmla="*/ 0 h 785388"/>
                <a:gd name="connsiteX2" fmla="*/ 300506 w 300506"/>
                <a:gd name="connsiteY2" fmla="*/ 785389 h 785388"/>
                <a:gd name="connsiteX3" fmla="*/ 0 w 300506"/>
                <a:gd name="connsiteY3" fmla="*/ 785389 h 78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0506" h="785388">
                  <a:moveTo>
                    <a:pt x="0" y="0"/>
                  </a:moveTo>
                  <a:lnTo>
                    <a:pt x="300506" y="0"/>
                  </a:lnTo>
                  <a:lnTo>
                    <a:pt x="300506" y="785389"/>
                  </a:lnTo>
                  <a:lnTo>
                    <a:pt x="0" y="785389"/>
                  </a:lnTo>
                  <a:close/>
                </a:path>
              </a:pathLst>
            </a:custGeom>
            <a:solidFill>
              <a:srgbClr val="1F2A44"/>
            </a:solidFill>
            <a:ln w="66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31" name="Forma Livre: Forma 30">
              <a:extLst>
                <a:ext uri="{FF2B5EF4-FFF2-40B4-BE49-F238E27FC236}">
                  <a16:creationId xmlns:a16="http://schemas.microsoft.com/office/drawing/2014/main" id="{F7E403AF-0DA8-42B3-945C-A7925DE3940A}"/>
                </a:ext>
              </a:extLst>
            </p:cNvPr>
            <p:cNvSpPr/>
            <p:nvPr/>
          </p:nvSpPr>
          <p:spPr>
            <a:xfrm>
              <a:off x="2810005" y="5393527"/>
              <a:ext cx="512556" cy="512985"/>
            </a:xfrm>
            <a:custGeom>
              <a:avLst/>
              <a:gdLst>
                <a:gd name="connsiteX0" fmla="*/ 0 w 960856"/>
                <a:gd name="connsiteY0" fmla="*/ 268 h 961660"/>
                <a:gd name="connsiteX1" fmla="*/ 0 w 960856"/>
                <a:gd name="connsiteY1" fmla="*/ 961660 h 961660"/>
                <a:gd name="connsiteX2" fmla="*/ 480797 w 960856"/>
                <a:gd name="connsiteY2" fmla="*/ 961660 h 961660"/>
                <a:gd name="connsiteX3" fmla="*/ 60074 w 960856"/>
                <a:gd name="connsiteY3" fmla="*/ 540938 h 961660"/>
                <a:gd name="connsiteX4" fmla="*/ 480797 w 960856"/>
                <a:gd name="connsiteY4" fmla="*/ 119144 h 961660"/>
                <a:gd name="connsiteX5" fmla="*/ 960857 w 960856"/>
                <a:gd name="connsiteY5" fmla="*/ 119144 h 961660"/>
                <a:gd name="connsiteX6" fmla="*/ 960857 w 960856"/>
                <a:gd name="connsiteY6" fmla="*/ 0 h 961660"/>
                <a:gd name="connsiteX7" fmla="*/ 0 w 960856"/>
                <a:gd name="connsiteY7" fmla="*/ 0 h 961660"/>
                <a:gd name="connsiteX8" fmla="*/ 0 w 960856"/>
                <a:gd name="connsiteY8" fmla="*/ 268 h 961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0856" h="961660">
                  <a:moveTo>
                    <a:pt x="0" y="268"/>
                  </a:moveTo>
                  <a:lnTo>
                    <a:pt x="0" y="961660"/>
                  </a:lnTo>
                  <a:lnTo>
                    <a:pt x="480797" y="961660"/>
                  </a:lnTo>
                  <a:cubicBezTo>
                    <a:pt x="248535" y="961660"/>
                    <a:pt x="60074" y="773400"/>
                    <a:pt x="60074" y="540938"/>
                  </a:cubicBezTo>
                  <a:cubicBezTo>
                    <a:pt x="60074" y="308476"/>
                    <a:pt x="248335" y="119144"/>
                    <a:pt x="480797" y="119144"/>
                  </a:cubicBezTo>
                  <a:lnTo>
                    <a:pt x="960857" y="119144"/>
                  </a:lnTo>
                  <a:lnTo>
                    <a:pt x="960857" y="0"/>
                  </a:lnTo>
                  <a:lnTo>
                    <a:pt x="0" y="0"/>
                  </a:lnTo>
                  <a:lnTo>
                    <a:pt x="0" y="268"/>
                  </a:lnTo>
                  <a:close/>
                </a:path>
              </a:pathLst>
            </a:custGeom>
            <a:solidFill>
              <a:srgbClr val="1F2A44"/>
            </a:solidFill>
            <a:ln w="66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32" name="Forma Livre: Forma 31">
              <a:extLst>
                <a:ext uri="{FF2B5EF4-FFF2-40B4-BE49-F238E27FC236}">
                  <a16:creationId xmlns:a16="http://schemas.microsoft.com/office/drawing/2014/main" id="{9D3B87F8-3D14-4E96-9CFC-1D06F1E3CA57}"/>
                </a:ext>
              </a:extLst>
            </p:cNvPr>
            <p:cNvSpPr/>
            <p:nvPr/>
          </p:nvSpPr>
          <p:spPr>
            <a:xfrm>
              <a:off x="2810005" y="5906512"/>
              <a:ext cx="512878" cy="515128"/>
            </a:xfrm>
            <a:custGeom>
              <a:avLst/>
              <a:gdLst>
                <a:gd name="connsiteX0" fmla="*/ 923486 w 961459"/>
                <a:gd name="connsiteY0" fmla="*/ 295082 h 965678"/>
                <a:gd name="connsiteX1" fmla="*/ 903126 w 961459"/>
                <a:gd name="connsiteY1" fmla="*/ 252889 h 965678"/>
                <a:gd name="connsiteX2" fmla="*/ 879016 w 961459"/>
                <a:gd name="connsiteY2" fmla="*/ 212973 h 965678"/>
                <a:gd name="connsiteX3" fmla="*/ 785790 w 961459"/>
                <a:gd name="connsiteY3" fmla="*/ 110304 h 965678"/>
                <a:gd name="connsiteX4" fmla="*/ 729064 w 961459"/>
                <a:gd name="connsiteY4" fmla="*/ 69853 h 965678"/>
                <a:gd name="connsiteX5" fmla="*/ 688144 w 961459"/>
                <a:gd name="connsiteY5" fmla="*/ 47484 h 965678"/>
                <a:gd name="connsiteX6" fmla="*/ 552324 w 961459"/>
                <a:gd name="connsiteY6" fmla="*/ 5492 h 965678"/>
                <a:gd name="connsiteX7" fmla="*/ 478721 w 961459"/>
                <a:gd name="connsiteY7" fmla="*/ 0 h 965678"/>
                <a:gd name="connsiteX8" fmla="*/ 0 w 961459"/>
                <a:gd name="connsiteY8" fmla="*/ 0 h 965678"/>
                <a:gd name="connsiteX9" fmla="*/ 0 w 961459"/>
                <a:gd name="connsiteY9" fmla="*/ 965679 h 965678"/>
                <a:gd name="connsiteX10" fmla="*/ 478520 w 961459"/>
                <a:gd name="connsiteY10" fmla="*/ 965679 h 965678"/>
                <a:gd name="connsiteX11" fmla="*/ 961459 w 961459"/>
                <a:gd name="connsiteY11" fmla="*/ 482739 h 965678"/>
                <a:gd name="connsiteX12" fmla="*/ 946190 w 961459"/>
                <a:gd name="connsiteY12" fmla="*/ 361988 h 965678"/>
                <a:gd name="connsiteX13" fmla="*/ 923486 w 961459"/>
                <a:gd name="connsiteY13" fmla="*/ 295082 h 965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61459" h="965678">
                  <a:moveTo>
                    <a:pt x="923486" y="295082"/>
                  </a:moveTo>
                  <a:cubicBezTo>
                    <a:pt x="917458" y="280750"/>
                    <a:pt x="910560" y="266552"/>
                    <a:pt x="903126" y="252889"/>
                  </a:cubicBezTo>
                  <a:cubicBezTo>
                    <a:pt x="895692" y="239227"/>
                    <a:pt x="887723" y="225966"/>
                    <a:pt x="879016" y="212973"/>
                  </a:cubicBezTo>
                  <a:cubicBezTo>
                    <a:pt x="852964" y="174531"/>
                    <a:pt x="821554" y="139906"/>
                    <a:pt x="785790" y="110304"/>
                  </a:cubicBezTo>
                  <a:cubicBezTo>
                    <a:pt x="767909" y="95570"/>
                    <a:pt x="748888" y="82109"/>
                    <a:pt x="729064" y="69853"/>
                  </a:cubicBezTo>
                  <a:cubicBezTo>
                    <a:pt x="715737" y="61883"/>
                    <a:pt x="702141" y="54449"/>
                    <a:pt x="688144" y="47484"/>
                  </a:cubicBezTo>
                  <a:cubicBezTo>
                    <a:pt x="645951" y="27124"/>
                    <a:pt x="600209" y="12725"/>
                    <a:pt x="552324" y="5492"/>
                  </a:cubicBezTo>
                  <a:cubicBezTo>
                    <a:pt x="528414" y="1741"/>
                    <a:pt x="503768" y="0"/>
                    <a:pt x="478721" y="0"/>
                  </a:cubicBezTo>
                  <a:lnTo>
                    <a:pt x="0" y="0"/>
                  </a:lnTo>
                  <a:lnTo>
                    <a:pt x="0" y="965679"/>
                  </a:lnTo>
                  <a:lnTo>
                    <a:pt x="478520" y="965679"/>
                  </a:lnTo>
                  <a:cubicBezTo>
                    <a:pt x="745138" y="965679"/>
                    <a:pt x="961459" y="749558"/>
                    <a:pt x="961459" y="482739"/>
                  </a:cubicBezTo>
                  <a:cubicBezTo>
                    <a:pt x="961459" y="441082"/>
                    <a:pt x="956169" y="400630"/>
                    <a:pt x="946190" y="361988"/>
                  </a:cubicBezTo>
                  <a:cubicBezTo>
                    <a:pt x="940162" y="339217"/>
                    <a:pt x="932527" y="316714"/>
                    <a:pt x="923486" y="295082"/>
                  </a:cubicBezTo>
                  <a:close/>
                </a:path>
              </a:pathLst>
            </a:custGeom>
            <a:solidFill>
              <a:srgbClr val="63B1BC"/>
            </a:solidFill>
            <a:ln w="66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33" name="Forma Livre: Forma 32">
              <a:extLst>
                <a:ext uri="{FF2B5EF4-FFF2-40B4-BE49-F238E27FC236}">
                  <a16:creationId xmlns:a16="http://schemas.microsoft.com/office/drawing/2014/main" id="{DF12873A-6F4F-471F-9BC8-7AF2ED306BB8}"/>
                </a:ext>
              </a:extLst>
            </p:cNvPr>
            <p:cNvSpPr/>
            <p:nvPr/>
          </p:nvSpPr>
          <p:spPr>
            <a:xfrm>
              <a:off x="3322562" y="5393670"/>
              <a:ext cx="514557" cy="512842"/>
            </a:xfrm>
            <a:custGeom>
              <a:avLst/>
              <a:gdLst>
                <a:gd name="connsiteX0" fmla="*/ 480462 w 964607"/>
                <a:gd name="connsiteY0" fmla="*/ 119144 h 961392"/>
                <a:gd name="connsiteX1" fmla="*/ 901854 w 964607"/>
                <a:gd name="connsiteY1" fmla="*/ 540536 h 961392"/>
                <a:gd name="connsiteX2" fmla="*/ 499214 w 964607"/>
                <a:gd name="connsiteY2" fmla="*/ 961392 h 961392"/>
                <a:gd name="connsiteX3" fmla="*/ 964607 w 964607"/>
                <a:gd name="connsiteY3" fmla="*/ 961392 h 961392"/>
                <a:gd name="connsiteX4" fmla="*/ 964607 w 964607"/>
                <a:gd name="connsiteY4" fmla="*/ 0 h 961392"/>
                <a:gd name="connsiteX5" fmla="*/ 0 w 964607"/>
                <a:gd name="connsiteY5" fmla="*/ 0 h 961392"/>
                <a:gd name="connsiteX6" fmla="*/ 0 w 964607"/>
                <a:gd name="connsiteY6" fmla="*/ 119144 h 961392"/>
                <a:gd name="connsiteX7" fmla="*/ 480462 w 964607"/>
                <a:gd name="connsiteY7" fmla="*/ 119144 h 961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64607" h="961392">
                  <a:moveTo>
                    <a:pt x="480462" y="119144"/>
                  </a:moveTo>
                  <a:cubicBezTo>
                    <a:pt x="713259" y="119144"/>
                    <a:pt x="901854" y="307806"/>
                    <a:pt x="901854" y="540536"/>
                  </a:cubicBezTo>
                  <a:cubicBezTo>
                    <a:pt x="901854" y="766904"/>
                    <a:pt x="723305" y="951682"/>
                    <a:pt x="499214" y="961392"/>
                  </a:cubicBezTo>
                  <a:lnTo>
                    <a:pt x="964607" y="961392"/>
                  </a:lnTo>
                  <a:lnTo>
                    <a:pt x="964607" y="0"/>
                  </a:lnTo>
                  <a:lnTo>
                    <a:pt x="0" y="0"/>
                  </a:lnTo>
                  <a:lnTo>
                    <a:pt x="0" y="119144"/>
                  </a:lnTo>
                  <a:lnTo>
                    <a:pt x="480462" y="119144"/>
                  </a:lnTo>
                  <a:close/>
                </a:path>
              </a:pathLst>
            </a:custGeom>
            <a:solidFill>
              <a:srgbClr val="63B1BC"/>
            </a:solidFill>
            <a:ln w="66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34" name="Forma Livre: Forma 33">
              <a:extLst>
                <a:ext uri="{FF2B5EF4-FFF2-40B4-BE49-F238E27FC236}">
                  <a16:creationId xmlns:a16="http://schemas.microsoft.com/office/drawing/2014/main" id="{5AD1AE29-B9E0-4C16-9BE3-525BD3952B99}"/>
                </a:ext>
              </a:extLst>
            </p:cNvPr>
            <p:cNvSpPr/>
            <p:nvPr/>
          </p:nvSpPr>
          <p:spPr>
            <a:xfrm>
              <a:off x="3322562" y="5457262"/>
              <a:ext cx="481082" cy="449572"/>
            </a:xfrm>
            <a:custGeom>
              <a:avLst/>
              <a:gdLst>
                <a:gd name="connsiteX0" fmla="*/ 0 w 901853"/>
                <a:gd name="connsiteY0" fmla="*/ 842784 h 842783"/>
                <a:gd name="connsiteX1" fmla="*/ 480462 w 901853"/>
                <a:gd name="connsiteY1" fmla="*/ 842784 h 842783"/>
                <a:gd name="connsiteX2" fmla="*/ 901854 w 901853"/>
                <a:gd name="connsiteY2" fmla="*/ 421392 h 842783"/>
                <a:gd name="connsiteX3" fmla="*/ 480462 w 901853"/>
                <a:gd name="connsiteY3" fmla="*/ 0 h 842783"/>
                <a:gd name="connsiteX4" fmla="*/ 0 w 901853"/>
                <a:gd name="connsiteY4" fmla="*/ 0 h 842783"/>
                <a:gd name="connsiteX5" fmla="*/ 0 w 901853"/>
                <a:gd name="connsiteY5" fmla="*/ 842784 h 842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01853" h="842783">
                  <a:moveTo>
                    <a:pt x="0" y="842784"/>
                  </a:moveTo>
                  <a:lnTo>
                    <a:pt x="480462" y="842784"/>
                  </a:lnTo>
                  <a:cubicBezTo>
                    <a:pt x="713259" y="842784"/>
                    <a:pt x="901854" y="654122"/>
                    <a:pt x="901854" y="421392"/>
                  </a:cubicBezTo>
                  <a:cubicBezTo>
                    <a:pt x="901854" y="188662"/>
                    <a:pt x="713192" y="0"/>
                    <a:pt x="480462" y="0"/>
                  </a:cubicBezTo>
                  <a:lnTo>
                    <a:pt x="0" y="0"/>
                  </a:lnTo>
                  <a:lnTo>
                    <a:pt x="0" y="842784"/>
                  </a:lnTo>
                  <a:close/>
                </a:path>
              </a:pathLst>
            </a:custGeom>
            <a:solidFill>
              <a:srgbClr val="1F2A44"/>
            </a:solidFill>
            <a:ln w="66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</p:grpSp>
    </p:spTree>
    <p:extLst>
      <p:ext uri="{BB962C8B-B14F-4D97-AF65-F5344CB8AC3E}">
        <p14:creationId xmlns:p14="http://schemas.microsoft.com/office/powerpoint/2010/main" val="1655558833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erramento Cla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áfico 13">
            <a:extLst>
              <a:ext uri="{FF2B5EF4-FFF2-40B4-BE49-F238E27FC236}">
                <a16:creationId xmlns:a16="http://schemas.microsoft.com/office/drawing/2014/main" id="{07EBD5B7-9E0E-4A9B-A3E1-D9A375DAB738}"/>
              </a:ext>
            </a:extLst>
          </p:cNvPr>
          <p:cNvGrpSpPr/>
          <p:nvPr userDrawn="1"/>
        </p:nvGrpSpPr>
        <p:grpSpPr>
          <a:xfrm>
            <a:off x="0" y="0"/>
            <a:ext cx="13442950" cy="7561263"/>
            <a:chOff x="0" y="0"/>
            <a:chExt cx="12192000" cy="6858000"/>
          </a:xfrm>
        </p:grpSpPr>
        <p:sp>
          <p:nvSpPr>
            <p:cNvPr id="16" name="Forma Livre: Forma 15">
              <a:extLst>
                <a:ext uri="{FF2B5EF4-FFF2-40B4-BE49-F238E27FC236}">
                  <a16:creationId xmlns:a16="http://schemas.microsoft.com/office/drawing/2014/main" id="{EF085D84-F742-4AF0-9E1F-350656BA159F}"/>
                </a:ext>
              </a:extLst>
            </p:cNvPr>
            <p:cNvSpPr/>
            <p:nvPr/>
          </p:nvSpPr>
          <p:spPr>
            <a:xfrm>
              <a:off x="0" y="0"/>
              <a:ext cx="12192000" cy="6858000"/>
            </a:xfrm>
            <a:custGeom>
              <a:avLst/>
              <a:gdLst>
                <a:gd name="connsiteX0" fmla="*/ 0 w 12192000"/>
                <a:gd name="connsiteY0" fmla="*/ 0 h 6858000"/>
                <a:gd name="connsiteX1" fmla="*/ 12192000 w 12192000"/>
                <a:gd name="connsiteY1" fmla="*/ 0 h 6858000"/>
                <a:gd name="connsiteX2" fmla="*/ 12192000 w 12192000"/>
                <a:gd name="connsiteY2" fmla="*/ 6858000 h 6858000"/>
                <a:gd name="connsiteX3" fmla="*/ 0 w 12192000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92000" h="6858000">
                  <a:moveTo>
                    <a:pt x="0" y="0"/>
                  </a:moveTo>
                  <a:lnTo>
                    <a:pt x="12192000" y="0"/>
                  </a:lnTo>
                  <a:lnTo>
                    <a:pt x="1219200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chemeClr val="bg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 dirty="0"/>
            </a:p>
          </p:txBody>
        </p:sp>
        <p:grpSp>
          <p:nvGrpSpPr>
            <p:cNvPr id="18" name="Gráfico 13">
              <a:extLst>
                <a:ext uri="{FF2B5EF4-FFF2-40B4-BE49-F238E27FC236}">
                  <a16:creationId xmlns:a16="http://schemas.microsoft.com/office/drawing/2014/main" id="{05FF05DD-9BEF-4626-9DA5-694A6D0FEB94}"/>
                </a:ext>
              </a:extLst>
            </p:cNvPr>
            <p:cNvGrpSpPr/>
            <p:nvPr/>
          </p:nvGrpSpPr>
          <p:grpSpPr>
            <a:xfrm>
              <a:off x="0" y="0"/>
              <a:ext cx="12192000" cy="6858000"/>
              <a:chOff x="0" y="0"/>
              <a:chExt cx="12192000" cy="6858000"/>
            </a:xfrm>
            <a:solidFill>
              <a:srgbClr val="172033"/>
            </a:solidFill>
          </p:grpSpPr>
          <p:sp>
            <p:nvSpPr>
              <p:cNvPr id="20" name="Forma Livre: Forma 19">
                <a:extLst>
                  <a:ext uri="{FF2B5EF4-FFF2-40B4-BE49-F238E27FC236}">
                    <a16:creationId xmlns:a16="http://schemas.microsoft.com/office/drawing/2014/main" id="{C7458AE9-2268-47E6-8744-6D5C8423C181}"/>
                  </a:ext>
                </a:extLst>
              </p:cNvPr>
              <p:cNvSpPr/>
              <p:nvPr/>
            </p:nvSpPr>
            <p:spPr>
              <a:xfrm>
                <a:off x="7933055" y="2259329"/>
                <a:ext cx="4258944" cy="4598035"/>
              </a:xfrm>
              <a:custGeom>
                <a:avLst/>
                <a:gdLst>
                  <a:gd name="connsiteX0" fmla="*/ 0 w 4258944"/>
                  <a:gd name="connsiteY0" fmla="*/ 1483995 h 4598035"/>
                  <a:gd name="connsiteX1" fmla="*/ 1494155 w 4258944"/>
                  <a:gd name="connsiteY1" fmla="*/ 2889250 h 4598035"/>
                  <a:gd name="connsiteX2" fmla="*/ 1494155 w 4258944"/>
                  <a:gd name="connsiteY2" fmla="*/ 2889250 h 4598035"/>
                  <a:gd name="connsiteX3" fmla="*/ 1494155 w 4258944"/>
                  <a:gd name="connsiteY3" fmla="*/ 2889250 h 4598035"/>
                  <a:gd name="connsiteX4" fmla="*/ 3310890 w 4258944"/>
                  <a:gd name="connsiteY4" fmla="*/ 4598035 h 4598035"/>
                  <a:gd name="connsiteX5" fmla="*/ 4258945 w 4258944"/>
                  <a:gd name="connsiteY5" fmla="*/ 4598035 h 4598035"/>
                  <a:gd name="connsiteX6" fmla="*/ 4258945 w 4258944"/>
                  <a:gd name="connsiteY6" fmla="*/ 2693035 h 4598035"/>
                  <a:gd name="connsiteX7" fmla="*/ 1395730 w 4258944"/>
                  <a:gd name="connsiteY7" fmla="*/ 0 h 4598035"/>
                  <a:gd name="connsiteX8" fmla="*/ 0 w 4258944"/>
                  <a:gd name="connsiteY8" fmla="*/ 1483995 h 45980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258944" h="4598035">
                    <a:moveTo>
                      <a:pt x="0" y="1483995"/>
                    </a:moveTo>
                    <a:lnTo>
                      <a:pt x="1494155" y="2889250"/>
                    </a:lnTo>
                    <a:cubicBezTo>
                      <a:pt x="1494155" y="2889250"/>
                      <a:pt x="1494155" y="2889250"/>
                      <a:pt x="1494155" y="2889250"/>
                    </a:cubicBezTo>
                    <a:cubicBezTo>
                      <a:pt x="1494155" y="2889250"/>
                      <a:pt x="1494155" y="2889250"/>
                      <a:pt x="1494155" y="2889250"/>
                    </a:cubicBezTo>
                    <a:lnTo>
                      <a:pt x="3310890" y="4598035"/>
                    </a:lnTo>
                    <a:lnTo>
                      <a:pt x="4258945" y="4598035"/>
                    </a:lnTo>
                    <a:lnTo>
                      <a:pt x="4258945" y="2693035"/>
                    </a:lnTo>
                    <a:lnTo>
                      <a:pt x="1395730" y="0"/>
                    </a:lnTo>
                    <a:lnTo>
                      <a:pt x="0" y="1483995"/>
                    </a:lnTo>
                    <a:close/>
                  </a:path>
                </a:pathLst>
              </a:custGeom>
              <a:solidFill>
                <a:schemeClr val="tx1">
                  <a:lumMod val="10000"/>
                  <a:lumOff val="9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21" name="Forma Livre: Forma 20">
                <a:extLst>
                  <a:ext uri="{FF2B5EF4-FFF2-40B4-BE49-F238E27FC236}">
                    <a16:creationId xmlns:a16="http://schemas.microsoft.com/office/drawing/2014/main" id="{24E8C7D2-07C8-4D5C-8299-2E1B90048F32}"/>
                  </a:ext>
                </a:extLst>
              </p:cNvPr>
              <p:cNvSpPr/>
              <p:nvPr/>
            </p:nvSpPr>
            <p:spPr>
              <a:xfrm>
                <a:off x="0" y="0"/>
                <a:ext cx="1935479" cy="2488564"/>
              </a:xfrm>
              <a:custGeom>
                <a:avLst/>
                <a:gdLst>
                  <a:gd name="connsiteX0" fmla="*/ 826770 w 1935479"/>
                  <a:gd name="connsiteY0" fmla="*/ 0 h 2488564"/>
                  <a:gd name="connsiteX1" fmla="*/ 0 w 1935479"/>
                  <a:gd name="connsiteY1" fmla="*/ 0 h 2488564"/>
                  <a:gd name="connsiteX2" fmla="*/ 0 w 1935479"/>
                  <a:gd name="connsiteY2" fmla="*/ 878840 h 2488564"/>
                  <a:gd name="connsiteX3" fmla="*/ 0 w 1935479"/>
                  <a:gd name="connsiteY3" fmla="*/ 2488565 h 2488564"/>
                  <a:gd name="connsiteX4" fmla="*/ 649605 w 1935479"/>
                  <a:gd name="connsiteY4" fmla="*/ 1367155 h 2488564"/>
                  <a:gd name="connsiteX5" fmla="*/ 1935480 w 1935479"/>
                  <a:gd name="connsiteY5" fmla="*/ 0 h 2488564"/>
                  <a:gd name="connsiteX6" fmla="*/ 826770 w 1935479"/>
                  <a:gd name="connsiteY6" fmla="*/ 0 h 24885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35479" h="2488564">
                    <a:moveTo>
                      <a:pt x="826770" y="0"/>
                    </a:moveTo>
                    <a:lnTo>
                      <a:pt x="0" y="0"/>
                    </a:lnTo>
                    <a:lnTo>
                      <a:pt x="0" y="878840"/>
                    </a:lnTo>
                    <a:lnTo>
                      <a:pt x="0" y="2488565"/>
                    </a:lnTo>
                    <a:cubicBezTo>
                      <a:pt x="123190" y="2082165"/>
                      <a:pt x="339090" y="1697355"/>
                      <a:pt x="649605" y="1367155"/>
                    </a:cubicBezTo>
                    <a:lnTo>
                      <a:pt x="1935480" y="0"/>
                    </a:lnTo>
                    <a:lnTo>
                      <a:pt x="826770" y="0"/>
                    </a:lnTo>
                    <a:close/>
                  </a:path>
                </a:pathLst>
              </a:custGeom>
              <a:solidFill>
                <a:schemeClr val="tx1">
                  <a:lumMod val="10000"/>
                  <a:lumOff val="9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22" name="Forma Livre: Forma 21">
                <a:extLst>
                  <a:ext uri="{FF2B5EF4-FFF2-40B4-BE49-F238E27FC236}">
                    <a16:creationId xmlns:a16="http://schemas.microsoft.com/office/drawing/2014/main" id="{463A67E9-C76C-49AC-8168-18525CA26A6B}"/>
                  </a:ext>
                </a:extLst>
              </p:cNvPr>
              <p:cNvSpPr/>
              <p:nvPr/>
            </p:nvSpPr>
            <p:spPr>
              <a:xfrm>
                <a:off x="0" y="4147820"/>
                <a:ext cx="10388600" cy="2710179"/>
              </a:xfrm>
              <a:custGeom>
                <a:avLst/>
                <a:gdLst>
                  <a:gd name="connsiteX0" fmla="*/ 9427845 w 10388600"/>
                  <a:gd name="connsiteY0" fmla="*/ 1001395 h 2710179"/>
                  <a:gd name="connsiteX1" fmla="*/ 9427845 w 10388600"/>
                  <a:gd name="connsiteY1" fmla="*/ 1001395 h 2710179"/>
                  <a:gd name="connsiteX2" fmla="*/ 8761095 w 10388600"/>
                  <a:gd name="connsiteY2" fmla="*/ 515620 h 2710179"/>
                  <a:gd name="connsiteX3" fmla="*/ 8322945 w 10388600"/>
                  <a:gd name="connsiteY3" fmla="*/ 315595 h 2710179"/>
                  <a:gd name="connsiteX4" fmla="*/ 8020050 w 10388600"/>
                  <a:gd name="connsiteY4" fmla="*/ 219710 h 2710179"/>
                  <a:gd name="connsiteX5" fmla="*/ 7710806 w 10388600"/>
                  <a:gd name="connsiteY5" fmla="*/ 154305 h 2710179"/>
                  <a:gd name="connsiteX6" fmla="*/ 6771006 w 10388600"/>
                  <a:gd name="connsiteY6" fmla="*/ 138430 h 2710179"/>
                  <a:gd name="connsiteX7" fmla="*/ 6308090 w 10388600"/>
                  <a:gd name="connsiteY7" fmla="*/ 231140 h 2710179"/>
                  <a:gd name="connsiteX8" fmla="*/ 6007100 w 10388600"/>
                  <a:gd name="connsiteY8" fmla="*/ 330200 h 2710179"/>
                  <a:gd name="connsiteX9" fmla="*/ 5168265 w 10388600"/>
                  <a:gd name="connsiteY9" fmla="*/ 805815 h 2710179"/>
                  <a:gd name="connsiteX10" fmla="*/ 4799330 w 10388600"/>
                  <a:gd name="connsiteY10" fmla="*/ 1143000 h 2710179"/>
                  <a:gd name="connsiteX11" fmla="*/ 4799330 w 10388600"/>
                  <a:gd name="connsiteY11" fmla="*/ 1143000 h 2710179"/>
                  <a:gd name="connsiteX12" fmla="*/ 4799330 w 10388600"/>
                  <a:gd name="connsiteY12" fmla="*/ 1143000 h 2710179"/>
                  <a:gd name="connsiteX13" fmla="*/ 4809490 w 10388600"/>
                  <a:gd name="connsiteY13" fmla="*/ 1132205 h 2710179"/>
                  <a:gd name="connsiteX14" fmla="*/ 777875 w 10388600"/>
                  <a:gd name="connsiteY14" fmla="*/ 1255395 h 2710179"/>
                  <a:gd name="connsiteX15" fmla="*/ 0 w 10388600"/>
                  <a:gd name="connsiteY15" fmla="*/ 0 h 2710179"/>
                  <a:gd name="connsiteX16" fmla="*/ 0 w 10388600"/>
                  <a:gd name="connsiteY16" fmla="*/ 1082675 h 2710179"/>
                  <a:gd name="connsiteX17" fmla="*/ 0 w 10388600"/>
                  <a:gd name="connsiteY17" fmla="*/ 2710180 h 2710179"/>
                  <a:gd name="connsiteX18" fmla="*/ 1730375 w 10388600"/>
                  <a:gd name="connsiteY18" fmla="*/ 2710180 h 2710179"/>
                  <a:gd name="connsiteX19" fmla="*/ 3325495 w 10388600"/>
                  <a:gd name="connsiteY19" fmla="*/ 2710180 h 2710179"/>
                  <a:gd name="connsiteX20" fmla="*/ 10388600 w 10388600"/>
                  <a:gd name="connsiteY20" fmla="*/ 2710180 h 2710179"/>
                  <a:gd name="connsiteX21" fmla="*/ 9427845 w 10388600"/>
                  <a:gd name="connsiteY21" fmla="*/ 1001395 h 2710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0388600" h="2710179">
                    <a:moveTo>
                      <a:pt x="9427845" y="1001395"/>
                    </a:moveTo>
                    <a:lnTo>
                      <a:pt x="9427845" y="1001395"/>
                    </a:lnTo>
                    <a:cubicBezTo>
                      <a:pt x="9221470" y="807085"/>
                      <a:pt x="8997315" y="645795"/>
                      <a:pt x="8761095" y="515620"/>
                    </a:cubicBezTo>
                    <a:cubicBezTo>
                      <a:pt x="8618855" y="437515"/>
                      <a:pt x="8472805" y="370840"/>
                      <a:pt x="8322945" y="315595"/>
                    </a:cubicBezTo>
                    <a:cubicBezTo>
                      <a:pt x="8223250" y="278765"/>
                      <a:pt x="8122285" y="247015"/>
                      <a:pt x="8020050" y="219710"/>
                    </a:cubicBezTo>
                    <a:cubicBezTo>
                      <a:pt x="7917815" y="193040"/>
                      <a:pt x="7814945" y="170815"/>
                      <a:pt x="7710806" y="154305"/>
                    </a:cubicBezTo>
                    <a:cubicBezTo>
                      <a:pt x="7399656" y="104140"/>
                      <a:pt x="7082790" y="98425"/>
                      <a:pt x="6771006" y="138430"/>
                    </a:cubicBezTo>
                    <a:cubicBezTo>
                      <a:pt x="6614795" y="158115"/>
                      <a:pt x="6460490" y="189230"/>
                      <a:pt x="6308090" y="231140"/>
                    </a:cubicBezTo>
                    <a:cubicBezTo>
                      <a:pt x="6206490" y="259080"/>
                      <a:pt x="6106160" y="292100"/>
                      <a:pt x="6007100" y="330200"/>
                    </a:cubicBezTo>
                    <a:cubicBezTo>
                      <a:pt x="5710555" y="444500"/>
                      <a:pt x="5427345" y="602615"/>
                      <a:pt x="5168265" y="805815"/>
                    </a:cubicBezTo>
                    <a:cubicBezTo>
                      <a:pt x="5038725" y="907415"/>
                      <a:pt x="4915535" y="1019810"/>
                      <a:pt x="4799330" y="1143000"/>
                    </a:cubicBezTo>
                    <a:cubicBezTo>
                      <a:pt x="4799330" y="1143000"/>
                      <a:pt x="4799330" y="1143000"/>
                      <a:pt x="4799330" y="1143000"/>
                    </a:cubicBezTo>
                    <a:lnTo>
                      <a:pt x="4799330" y="1143000"/>
                    </a:lnTo>
                    <a:lnTo>
                      <a:pt x="4809490" y="1132205"/>
                    </a:lnTo>
                    <a:cubicBezTo>
                      <a:pt x="3730625" y="2279650"/>
                      <a:pt x="1925320" y="2334895"/>
                      <a:pt x="777875" y="1255395"/>
                    </a:cubicBezTo>
                    <a:cubicBezTo>
                      <a:pt x="400050" y="899795"/>
                      <a:pt x="140335" y="464820"/>
                      <a:pt x="0" y="0"/>
                    </a:cubicBezTo>
                    <a:lnTo>
                      <a:pt x="0" y="1082675"/>
                    </a:lnTo>
                    <a:lnTo>
                      <a:pt x="0" y="2710180"/>
                    </a:lnTo>
                    <a:lnTo>
                      <a:pt x="1730375" y="2710180"/>
                    </a:lnTo>
                    <a:lnTo>
                      <a:pt x="3325495" y="2710180"/>
                    </a:lnTo>
                    <a:lnTo>
                      <a:pt x="10388600" y="2710180"/>
                    </a:lnTo>
                    <a:cubicBezTo>
                      <a:pt x="10255250" y="2077720"/>
                      <a:pt x="9934575" y="1477645"/>
                      <a:pt x="9427845" y="1001395"/>
                    </a:cubicBezTo>
                    <a:close/>
                  </a:path>
                </a:pathLst>
              </a:custGeom>
              <a:solidFill>
                <a:schemeClr val="tx1">
                  <a:lumMod val="10000"/>
                  <a:lumOff val="9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23" name="Forma Livre: Forma 22">
                <a:extLst>
                  <a:ext uri="{FF2B5EF4-FFF2-40B4-BE49-F238E27FC236}">
                    <a16:creationId xmlns:a16="http://schemas.microsoft.com/office/drawing/2014/main" id="{8BD26264-CC0C-48A1-9359-1F430777F50A}"/>
                  </a:ext>
                </a:extLst>
              </p:cNvPr>
              <p:cNvSpPr/>
              <p:nvPr/>
            </p:nvSpPr>
            <p:spPr>
              <a:xfrm>
                <a:off x="9427209" y="5148579"/>
                <a:ext cx="476" cy="282"/>
              </a:xfrm>
              <a:custGeom>
                <a:avLst/>
                <a:gdLst>
                  <a:gd name="connsiteX0" fmla="*/ 0 w 476"/>
                  <a:gd name="connsiteY0" fmla="*/ 0 h 282"/>
                  <a:gd name="connsiteX1" fmla="*/ 0 w 476"/>
                  <a:gd name="connsiteY1" fmla="*/ 0 h 282"/>
                  <a:gd name="connsiteX2" fmla="*/ 0 w 476"/>
                  <a:gd name="connsiteY2" fmla="*/ 0 h 282"/>
                  <a:gd name="connsiteX3" fmla="*/ 0 w 476"/>
                  <a:gd name="connsiteY3" fmla="*/ 0 h 282"/>
                  <a:gd name="connsiteX4" fmla="*/ 0 w 476"/>
                  <a:gd name="connsiteY4" fmla="*/ 0 h 2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6" h="282">
                    <a:moveTo>
                      <a:pt x="0" y="0"/>
                    </a:moveTo>
                    <a:lnTo>
                      <a:pt x="0" y="0"/>
                    </a:lnTo>
                    <a:cubicBezTo>
                      <a:pt x="635" y="635"/>
                      <a:pt x="635" y="0"/>
                      <a:pt x="0" y="0"/>
                    </a:cubicBezTo>
                    <a:cubicBezTo>
                      <a:pt x="635" y="0"/>
                      <a:pt x="0" y="0"/>
                      <a:pt x="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7203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24" name="Forma Livre: Forma 23">
                <a:extLst>
                  <a:ext uri="{FF2B5EF4-FFF2-40B4-BE49-F238E27FC236}">
                    <a16:creationId xmlns:a16="http://schemas.microsoft.com/office/drawing/2014/main" id="{2D2BB63A-732D-470F-B583-7091A7D55CDC}"/>
                  </a:ext>
                </a:extLst>
              </p:cNvPr>
              <p:cNvSpPr/>
              <p:nvPr/>
            </p:nvSpPr>
            <p:spPr>
              <a:xfrm>
                <a:off x="4799965" y="5290184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7203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25" name="Forma Livre: Forma 24">
                <a:extLst>
                  <a:ext uri="{FF2B5EF4-FFF2-40B4-BE49-F238E27FC236}">
                    <a16:creationId xmlns:a16="http://schemas.microsoft.com/office/drawing/2014/main" id="{B4477FD0-4384-424D-82F7-DA59D0C365EF}"/>
                  </a:ext>
                </a:extLst>
              </p:cNvPr>
              <p:cNvSpPr/>
              <p:nvPr/>
            </p:nvSpPr>
            <p:spPr>
              <a:xfrm>
                <a:off x="3948429" y="0"/>
                <a:ext cx="5724525" cy="2910839"/>
              </a:xfrm>
              <a:custGeom>
                <a:avLst/>
                <a:gdLst>
                  <a:gd name="connsiteX0" fmla="*/ 5326380 w 5724525"/>
                  <a:gd name="connsiteY0" fmla="*/ 537210 h 2910839"/>
                  <a:gd name="connsiteX1" fmla="*/ 5417185 w 5724525"/>
                  <a:gd name="connsiteY1" fmla="*/ 436245 h 2910839"/>
                  <a:gd name="connsiteX2" fmla="*/ 5411470 w 5724525"/>
                  <a:gd name="connsiteY2" fmla="*/ 442595 h 2910839"/>
                  <a:gd name="connsiteX3" fmla="*/ 5724526 w 5724525"/>
                  <a:gd name="connsiteY3" fmla="*/ 0 h 2910839"/>
                  <a:gd name="connsiteX4" fmla="*/ 0 w 5724525"/>
                  <a:gd name="connsiteY4" fmla="*/ 0 h 2910839"/>
                  <a:gd name="connsiteX5" fmla="*/ 3094355 w 5724525"/>
                  <a:gd name="connsiteY5" fmla="*/ 2910840 h 2910839"/>
                  <a:gd name="connsiteX6" fmla="*/ 5326380 w 5724525"/>
                  <a:gd name="connsiteY6" fmla="*/ 537210 h 2910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724525" h="2910839">
                    <a:moveTo>
                      <a:pt x="5326380" y="537210"/>
                    </a:moveTo>
                    <a:cubicBezTo>
                      <a:pt x="5357495" y="504190"/>
                      <a:pt x="5387976" y="470535"/>
                      <a:pt x="5417185" y="436245"/>
                    </a:cubicBezTo>
                    <a:lnTo>
                      <a:pt x="5411470" y="442595"/>
                    </a:lnTo>
                    <a:cubicBezTo>
                      <a:pt x="5531485" y="302895"/>
                      <a:pt x="5636260" y="154940"/>
                      <a:pt x="5724526" y="0"/>
                    </a:cubicBezTo>
                    <a:lnTo>
                      <a:pt x="0" y="0"/>
                    </a:lnTo>
                    <a:lnTo>
                      <a:pt x="3094355" y="2910840"/>
                    </a:lnTo>
                    <a:lnTo>
                      <a:pt x="5326380" y="537210"/>
                    </a:lnTo>
                    <a:close/>
                  </a:path>
                </a:pathLst>
              </a:custGeom>
              <a:solidFill>
                <a:schemeClr val="tx1">
                  <a:lumMod val="10000"/>
                  <a:lumOff val="9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26" name="Forma Livre: Forma 25">
                <a:extLst>
                  <a:ext uri="{FF2B5EF4-FFF2-40B4-BE49-F238E27FC236}">
                    <a16:creationId xmlns:a16="http://schemas.microsoft.com/office/drawing/2014/main" id="{EAA59029-94C2-4394-9F7C-67F58BA3EE3B}"/>
                  </a:ext>
                </a:extLst>
              </p:cNvPr>
              <p:cNvSpPr/>
              <p:nvPr/>
            </p:nvSpPr>
            <p:spPr>
              <a:xfrm>
                <a:off x="9359900" y="0"/>
                <a:ext cx="313690" cy="442594"/>
              </a:xfrm>
              <a:custGeom>
                <a:avLst/>
                <a:gdLst>
                  <a:gd name="connsiteX0" fmla="*/ 313690 w 313690"/>
                  <a:gd name="connsiteY0" fmla="*/ 0 h 442594"/>
                  <a:gd name="connsiteX1" fmla="*/ 313690 w 313690"/>
                  <a:gd name="connsiteY1" fmla="*/ 0 h 442594"/>
                  <a:gd name="connsiteX2" fmla="*/ 0 w 313690"/>
                  <a:gd name="connsiteY2" fmla="*/ 442595 h 442594"/>
                  <a:gd name="connsiteX3" fmla="*/ 5715 w 313690"/>
                  <a:gd name="connsiteY3" fmla="*/ 436245 h 442594"/>
                  <a:gd name="connsiteX4" fmla="*/ 313690 w 313690"/>
                  <a:gd name="connsiteY4" fmla="*/ 0 h 442594"/>
                  <a:gd name="connsiteX5" fmla="*/ 313690 w 313690"/>
                  <a:gd name="connsiteY5" fmla="*/ 0 h 442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3690" h="442594">
                    <a:moveTo>
                      <a:pt x="313690" y="0"/>
                    </a:moveTo>
                    <a:lnTo>
                      <a:pt x="313690" y="0"/>
                    </a:lnTo>
                    <a:cubicBezTo>
                      <a:pt x="224790" y="154305"/>
                      <a:pt x="120015" y="302895"/>
                      <a:pt x="0" y="442595"/>
                    </a:cubicBezTo>
                    <a:lnTo>
                      <a:pt x="5715" y="436245"/>
                    </a:lnTo>
                    <a:cubicBezTo>
                      <a:pt x="123825" y="298450"/>
                      <a:pt x="226060" y="152400"/>
                      <a:pt x="313690" y="0"/>
                    </a:cubicBezTo>
                    <a:lnTo>
                      <a:pt x="313690" y="0"/>
                    </a:lnTo>
                    <a:close/>
                  </a:path>
                </a:pathLst>
              </a:custGeom>
              <a:solidFill>
                <a:srgbClr val="17203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</p:grpSp>
      </p:grpSp>
      <p:sp>
        <p:nvSpPr>
          <p:cNvPr id="5123" name="AutoShape 3"/>
          <p:cNvSpPr>
            <a:spLocks noChangeAspect="1" noChangeArrowheads="1" noTextEdit="1"/>
          </p:cNvSpPr>
          <p:nvPr/>
        </p:nvSpPr>
        <p:spPr bwMode="auto">
          <a:xfrm>
            <a:off x="217531" y="1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5" tIns="45717" rIns="91435" bIns="45717" numCol="1" anchor="t" anchorCtr="0" compatLnSpc="1">
            <a:prstTxWarp prst="textNoShape">
              <a:avLst/>
            </a:prstTxWarp>
          </a:bodyPr>
          <a:lstStyle/>
          <a:p>
            <a:endParaRPr lang="pt-BR" sz="2099"/>
          </a:p>
        </p:txBody>
      </p:sp>
      <p:sp>
        <p:nvSpPr>
          <p:cNvPr id="5129" name="Freeform 9"/>
          <p:cNvSpPr>
            <a:spLocks/>
          </p:cNvSpPr>
          <p:nvPr/>
        </p:nvSpPr>
        <p:spPr bwMode="auto">
          <a:xfrm>
            <a:off x="5622320" y="5889627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vert="horz" wrap="square" lIns="91435" tIns="45717" rIns="91435" bIns="45717" numCol="1" anchor="t" anchorCtr="0" compatLnSpc="1">
            <a:prstTxWarp prst="textNoShape">
              <a:avLst/>
            </a:prstTxWarp>
          </a:bodyPr>
          <a:lstStyle/>
          <a:p>
            <a:endParaRPr lang="pt-BR" sz="2099" dirty="0"/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6181659" y="5927701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54" baseline="0">
                <a:solidFill>
                  <a:schemeClr val="accent1"/>
                </a:solidFill>
              </a:defRPr>
            </a:lvl1pPr>
            <a:lvl2pPr>
              <a:buNone/>
              <a:defRPr sz="1600">
                <a:solidFill>
                  <a:srgbClr val="32B9CD"/>
                </a:solidFill>
              </a:defRPr>
            </a:lvl2pPr>
            <a:lvl3pPr>
              <a:buNone/>
              <a:defRPr sz="1400">
                <a:solidFill>
                  <a:srgbClr val="32B9CD"/>
                </a:solidFill>
              </a:defRPr>
            </a:lvl3pPr>
            <a:lvl4pPr>
              <a:buNone/>
              <a:defRPr sz="1200">
                <a:solidFill>
                  <a:srgbClr val="32B9CD"/>
                </a:solidFill>
              </a:defRPr>
            </a:lvl4pPr>
            <a:lvl5pPr>
              <a:buNone/>
              <a:defRPr sz="1200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grpSp>
        <p:nvGrpSpPr>
          <p:cNvPr id="27" name="Gráfico 3">
            <a:extLst>
              <a:ext uri="{FF2B5EF4-FFF2-40B4-BE49-F238E27FC236}">
                <a16:creationId xmlns:a16="http://schemas.microsoft.com/office/drawing/2014/main" id="{203CF533-AA1F-43C2-A59D-88FBE987F666}"/>
              </a:ext>
            </a:extLst>
          </p:cNvPr>
          <p:cNvGrpSpPr/>
          <p:nvPr userDrawn="1"/>
        </p:nvGrpSpPr>
        <p:grpSpPr>
          <a:xfrm>
            <a:off x="3098324" y="5902971"/>
            <a:ext cx="2292573" cy="1177305"/>
            <a:chOff x="4147095" y="2428093"/>
            <a:chExt cx="3897808" cy="2001745"/>
          </a:xfrm>
        </p:grpSpPr>
        <p:grpSp>
          <p:nvGrpSpPr>
            <p:cNvPr id="28" name="Gráfico 3">
              <a:extLst>
                <a:ext uri="{FF2B5EF4-FFF2-40B4-BE49-F238E27FC236}">
                  <a16:creationId xmlns:a16="http://schemas.microsoft.com/office/drawing/2014/main" id="{68417603-09AE-499C-B15E-95D170E26E21}"/>
                </a:ext>
              </a:extLst>
            </p:cNvPr>
            <p:cNvGrpSpPr/>
            <p:nvPr/>
          </p:nvGrpSpPr>
          <p:grpSpPr>
            <a:xfrm>
              <a:off x="6368511" y="2428093"/>
              <a:ext cx="1676392" cy="2000942"/>
              <a:chOff x="6368511" y="2428093"/>
              <a:chExt cx="1676392" cy="2000942"/>
            </a:xfrm>
            <a:solidFill>
              <a:srgbClr val="1F2A44"/>
            </a:solidFill>
          </p:grpSpPr>
          <p:sp>
            <p:nvSpPr>
              <p:cNvPr id="37" name="Forma Livre: Forma 36">
                <a:extLst>
                  <a:ext uri="{FF2B5EF4-FFF2-40B4-BE49-F238E27FC236}">
                    <a16:creationId xmlns:a16="http://schemas.microsoft.com/office/drawing/2014/main" id="{70046D58-32E4-4F0E-B859-A26040B1650B}"/>
                  </a:ext>
                </a:extLst>
              </p:cNvPr>
              <p:cNvSpPr/>
              <p:nvPr/>
            </p:nvSpPr>
            <p:spPr>
              <a:xfrm>
                <a:off x="6368511" y="2502768"/>
                <a:ext cx="224090" cy="367746"/>
              </a:xfrm>
              <a:custGeom>
                <a:avLst/>
                <a:gdLst>
                  <a:gd name="connsiteX0" fmla="*/ 0 w 224090"/>
                  <a:gd name="connsiteY0" fmla="*/ 256907 h 367746"/>
                  <a:gd name="connsiteX1" fmla="*/ 40451 w 224090"/>
                  <a:gd name="connsiteY1" fmla="*/ 256907 h 367746"/>
                  <a:gd name="connsiteX2" fmla="*/ 115997 w 224090"/>
                  <a:gd name="connsiteY2" fmla="*/ 328903 h 367746"/>
                  <a:gd name="connsiteX3" fmla="*/ 184443 w 224090"/>
                  <a:gd name="connsiteY3" fmla="*/ 272177 h 367746"/>
                  <a:gd name="connsiteX4" fmla="*/ 126645 w 224090"/>
                  <a:gd name="connsiteY4" fmla="*/ 209423 h 367746"/>
                  <a:gd name="connsiteX5" fmla="*/ 81238 w 224090"/>
                  <a:gd name="connsiteY5" fmla="*/ 196632 h 367746"/>
                  <a:gd name="connsiteX6" fmla="*/ 6094 w 224090"/>
                  <a:gd name="connsiteY6" fmla="*/ 95034 h 367746"/>
                  <a:gd name="connsiteX7" fmla="*/ 111777 w 224090"/>
                  <a:gd name="connsiteY7" fmla="*/ 0 h 367746"/>
                  <a:gd name="connsiteX8" fmla="*/ 219536 w 224090"/>
                  <a:gd name="connsiteY8" fmla="*/ 95570 h 367746"/>
                  <a:gd name="connsiteX9" fmla="*/ 179085 w 224090"/>
                  <a:gd name="connsiteY9" fmla="*/ 95570 h 367746"/>
                  <a:gd name="connsiteX10" fmla="*/ 111710 w 224090"/>
                  <a:gd name="connsiteY10" fmla="*/ 38844 h 367746"/>
                  <a:gd name="connsiteX11" fmla="*/ 45742 w 224090"/>
                  <a:gd name="connsiteY11" fmla="*/ 95034 h 367746"/>
                  <a:gd name="connsiteX12" fmla="*/ 98919 w 224090"/>
                  <a:gd name="connsiteY12" fmla="*/ 158323 h 367746"/>
                  <a:gd name="connsiteX13" fmla="*/ 140777 w 224090"/>
                  <a:gd name="connsiteY13" fmla="*/ 170043 h 367746"/>
                  <a:gd name="connsiteX14" fmla="*/ 224091 w 224090"/>
                  <a:gd name="connsiteY14" fmla="*/ 272177 h 367746"/>
                  <a:gd name="connsiteX15" fmla="*/ 115796 w 224090"/>
                  <a:gd name="connsiteY15" fmla="*/ 367747 h 367746"/>
                  <a:gd name="connsiteX16" fmla="*/ 0 w 224090"/>
                  <a:gd name="connsiteY16" fmla="*/ 256907 h 367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24090" h="367746">
                    <a:moveTo>
                      <a:pt x="0" y="256907"/>
                    </a:moveTo>
                    <a:lnTo>
                      <a:pt x="40451" y="256907"/>
                    </a:lnTo>
                    <a:cubicBezTo>
                      <a:pt x="46680" y="302850"/>
                      <a:pt x="77688" y="328903"/>
                      <a:pt x="115997" y="328903"/>
                    </a:cubicBezTo>
                    <a:cubicBezTo>
                      <a:pt x="156448" y="328903"/>
                      <a:pt x="184443" y="309949"/>
                      <a:pt x="184443" y="272177"/>
                    </a:cubicBezTo>
                    <a:cubicBezTo>
                      <a:pt x="184443" y="239896"/>
                      <a:pt x="167097" y="220608"/>
                      <a:pt x="126645" y="209423"/>
                    </a:cubicBezTo>
                    <a:lnTo>
                      <a:pt x="81238" y="196632"/>
                    </a:lnTo>
                    <a:cubicBezTo>
                      <a:pt x="28062" y="181764"/>
                      <a:pt x="6094" y="138499"/>
                      <a:pt x="6094" y="95034"/>
                    </a:cubicBezTo>
                    <a:cubicBezTo>
                      <a:pt x="6094" y="33687"/>
                      <a:pt x="54650" y="0"/>
                      <a:pt x="111777" y="0"/>
                    </a:cubicBezTo>
                    <a:cubicBezTo>
                      <a:pt x="173660" y="0"/>
                      <a:pt x="211969" y="34759"/>
                      <a:pt x="219536" y="95570"/>
                    </a:cubicBezTo>
                    <a:lnTo>
                      <a:pt x="179085" y="95570"/>
                    </a:lnTo>
                    <a:cubicBezTo>
                      <a:pt x="171450" y="61347"/>
                      <a:pt x="150019" y="38844"/>
                      <a:pt x="111710" y="38844"/>
                    </a:cubicBezTo>
                    <a:cubicBezTo>
                      <a:pt x="68781" y="38844"/>
                      <a:pt x="45742" y="63825"/>
                      <a:pt x="45742" y="95034"/>
                    </a:cubicBezTo>
                    <a:cubicBezTo>
                      <a:pt x="45742" y="127650"/>
                      <a:pt x="62084" y="148210"/>
                      <a:pt x="98919" y="158323"/>
                    </a:cubicBezTo>
                    <a:lnTo>
                      <a:pt x="140777" y="170043"/>
                    </a:lnTo>
                    <a:cubicBezTo>
                      <a:pt x="191274" y="184376"/>
                      <a:pt x="224091" y="215451"/>
                      <a:pt x="224091" y="272177"/>
                    </a:cubicBezTo>
                    <a:cubicBezTo>
                      <a:pt x="224091" y="329439"/>
                      <a:pt x="187389" y="367747"/>
                      <a:pt x="115796" y="367747"/>
                    </a:cubicBezTo>
                    <a:cubicBezTo>
                      <a:pt x="51234" y="367881"/>
                      <a:pt x="5090" y="325353"/>
                      <a:pt x="0" y="256907"/>
                    </a:cubicBez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38" name="Forma Livre: Forma 37">
                <a:extLst>
                  <a:ext uri="{FF2B5EF4-FFF2-40B4-BE49-F238E27FC236}">
                    <a16:creationId xmlns:a16="http://schemas.microsoft.com/office/drawing/2014/main" id="{55DE771A-FDFD-4B7D-9B31-785E88F3F179}"/>
                  </a:ext>
                </a:extLst>
              </p:cNvPr>
              <p:cNvSpPr/>
              <p:nvPr/>
            </p:nvSpPr>
            <p:spPr>
              <a:xfrm>
                <a:off x="6626423" y="2428093"/>
                <a:ext cx="274721" cy="437398"/>
              </a:xfrm>
              <a:custGeom>
                <a:avLst/>
                <a:gdLst>
                  <a:gd name="connsiteX0" fmla="*/ 202324 w 274721"/>
                  <a:gd name="connsiteY0" fmla="*/ 336672 h 437398"/>
                  <a:gd name="connsiteX1" fmla="*/ 72532 w 274721"/>
                  <a:gd name="connsiteY1" fmla="*/ 336672 h 437398"/>
                  <a:gd name="connsiteX2" fmla="*/ 39915 w 274721"/>
                  <a:gd name="connsiteY2" fmla="*/ 437398 h 437398"/>
                  <a:gd name="connsiteX3" fmla="*/ 0 w 274721"/>
                  <a:gd name="connsiteY3" fmla="*/ 437398 h 437398"/>
                  <a:gd name="connsiteX4" fmla="*/ 114858 w 274721"/>
                  <a:gd name="connsiteY4" fmla="*/ 79832 h 437398"/>
                  <a:gd name="connsiteX5" fmla="*/ 159864 w 274721"/>
                  <a:gd name="connsiteY5" fmla="*/ 79832 h 437398"/>
                  <a:gd name="connsiteX6" fmla="*/ 274722 w 274721"/>
                  <a:gd name="connsiteY6" fmla="*/ 437398 h 437398"/>
                  <a:gd name="connsiteX7" fmla="*/ 234806 w 274721"/>
                  <a:gd name="connsiteY7" fmla="*/ 437398 h 437398"/>
                  <a:gd name="connsiteX8" fmla="*/ 202324 w 274721"/>
                  <a:gd name="connsiteY8" fmla="*/ 336672 h 437398"/>
                  <a:gd name="connsiteX9" fmla="*/ 156917 w 274721"/>
                  <a:gd name="connsiteY9" fmla="*/ 58333 h 437398"/>
                  <a:gd name="connsiteX10" fmla="*/ 116466 w 274721"/>
                  <a:gd name="connsiteY10" fmla="*/ 29267 h 437398"/>
                  <a:gd name="connsiteX11" fmla="*/ 61883 w 274721"/>
                  <a:gd name="connsiteY11" fmla="*/ 58333 h 437398"/>
                  <a:gd name="connsiteX12" fmla="*/ 50162 w 274721"/>
                  <a:gd name="connsiteY12" fmla="*/ 36366 h 437398"/>
                  <a:gd name="connsiteX13" fmla="*/ 118073 w 274721"/>
                  <a:gd name="connsiteY13" fmla="*/ 0 h 437398"/>
                  <a:gd name="connsiteX14" fmla="*/ 158524 w 274721"/>
                  <a:gd name="connsiteY14" fmla="*/ 29066 h 437398"/>
                  <a:gd name="connsiteX15" fmla="*/ 213107 w 274721"/>
                  <a:gd name="connsiteY15" fmla="*/ 0 h 437398"/>
                  <a:gd name="connsiteX16" fmla="*/ 224827 w 274721"/>
                  <a:gd name="connsiteY16" fmla="*/ 21967 h 437398"/>
                  <a:gd name="connsiteX17" fmla="*/ 156917 w 274721"/>
                  <a:gd name="connsiteY17" fmla="*/ 58333 h 437398"/>
                  <a:gd name="connsiteX18" fmla="*/ 137428 w 274721"/>
                  <a:gd name="connsiteY18" fmla="*/ 134414 h 437398"/>
                  <a:gd name="connsiteX19" fmla="*/ 84252 w 274721"/>
                  <a:gd name="connsiteY19" fmla="*/ 300372 h 437398"/>
                  <a:gd name="connsiteX20" fmla="*/ 190470 w 274721"/>
                  <a:gd name="connsiteY20" fmla="*/ 300372 h 437398"/>
                  <a:gd name="connsiteX21" fmla="*/ 137428 w 274721"/>
                  <a:gd name="connsiteY21" fmla="*/ 134414 h 437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74721" h="437398">
                    <a:moveTo>
                      <a:pt x="202324" y="336672"/>
                    </a:moveTo>
                    <a:lnTo>
                      <a:pt x="72532" y="336672"/>
                    </a:lnTo>
                    <a:lnTo>
                      <a:pt x="39915" y="437398"/>
                    </a:lnTo>
                    <a:lnTo>
                      <a:pt x="0" y="437398"/>
                    </a:lnTo>
                    <a:lnTo>
                      <a:pt x="114858" y="79832"/>
                    </a:lnTo>
                    <a:lnTo>
                      <a:pt x="159864" y="79832"/>
                    </a:lnTo>
                    <a:lnTo>
                      <a:pt x="274722" y="437398"/>
                    </a:lnTo>
                    <a:lnTo>
                      <a:pt x="234806" y="437398"/>
                    </a:lnTo>
                    <a:lnTo>
                      <a:pt x="202324" y="336672"/>
                    </a:lnTo>
                    <a:close/>
                    <a:moveTo>
                      <a:pt x="156917" y="58333"/>
                    </a:moveTo>
                    <a:lnTo>
                      <a:pt x="116466" y="29267"/>
                    </a:lnTo>
                    <a:lnTo>
                      <a:pt x="61883" y="58333"/>
                    </a:lnTo>
                    <a:lnTo>
                      <a:pt x="50162" y="36366"/>
                    </a:lnTo>
                    <a:lnTo>
                      <a:pt x="118073" y="0"/>
                    </a:lnTo>
                    <a:lnTo>
                      <a:pt x="158524" y="29066"/>
                    </a:lnTo>
                    <a:lnTo>
                      <a:pt x="213107" y="0"/>
                    </a:lnTo>
                    <a:lnTo>
                      <a:pt x="224827" y="21967"/>
                    </a:lnTo>
                    <a:lnTo>
                      <a:pt x="156917" y="58333"/>
                    </a:lnTo>
                    <a:close/>
                    <a:moveTo>
                      <a:pt x="137428" y="134414"/>
                    </a:moveTo>
                    <a:lnTo>
                      <a:pt x="84252" y="300372"/>
                    </a:lnTo>
                    <a:lnTo>
                      <a:pt x="190470" y="300372"/>
                    </a:lnTo>
                    <a:lnTo>
                      <a:pt x="137428" y="134414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39" name="Forma Livre: Forma 38">
                <a:extLst>
                  <a:ext uri="{FF2B5EF4-FFF2-40B4-BE49-F238E27FC236}">
                    <a16:creationId xmlns:a16="http://schemas.microsoft.com/office/drawing/2014/main" id="{E6762F8A-5CEF-44A4-85FA-CA22B25EB0AB}"/>
                  </a:ext>
                </a:extLst>
              </p:cNvPr>
              <p:cNvSpPr/>
              <p:nvPr/>
            </p:nvSpPr>
            <p:spPr>
              <a:xfrm>
                <a:off x="6928402" y="2502768"/>
                <a:ext cx="230787" cy="367880"/>
              </a:xfrm>
              <a:custGeom>
                <a:avLst/>
                <a:gdLst>
                  <a:gd name="connsiteX0" fmla="*/ 230788 w 230787"/>
                  <a:gd name="connsiteY0" fmla="*/ 246794 h 367880"/>
                  <a:gd name="connsiteX1" fmla="*/ 115394 w 230787"/>
                  <a:gd name="connsiteY1" fmla="*/ 367881 h 367880"/>
                  <a:gd name="connsiteX2" fmla="*/ 0 w 230787"/>
                  <a:gd name="connsiteY2" fmla="*/ 246794 h 367880"/>
                  <a:gd name="connsiteX3" fmla="*/ 0 w 230787"/>
                  <a:gd name="connsiteY3" fmla="*/ 121086 h 367880"/>
                  <a:gd name="connsiteX4" fmla="*/ 115394 w 230787"/>
                  <a:gd name="connsiteY4" fmla="*/ 0 h 367880"/>
                  <a:gd name="connsiteX5" fmla="*/ 230788 w 230787"/>
                  <a:gd name="connsiteY5" fmla="*/ 121086 h 367880"/>
                  <a:gd name="connsiteX6" fmla="*/ 230788 w 230787"/>
                  <a:gd name="connsiteY6" fmla="*/ 246794 h 367880"/>
                  <a:gd name="connsiteX7" fmla="*/ 191609 w 230787"/>
                  <a:gd name="connsiteY7" fmla="*/ 121086 h 367880"/>
                  <a:gd name="connsiteX8" fmla="*/ 115528 w 230787"/>
                  <a:gd name="connsiteY8" fmla="*/ 38844 h 367880"/>
                  <a:gd name="connsiteX9" fmla="*/ 39447 w 230787"/>
                  <a:gd name="connsiteY9" fmla="*/ 121086 h 367880"/>
                  <a:gd name="connsiteX10" fmla="*/ 39447 w 230787"/>
                  <a:gd name="connsiteY10" fmla="*/ 246794 h 367880"/>
                  <a:gd name="connsiteX11" fmla="*/ 115528 w 230787"/>
                  <a:gd name="connsiteY11" fmla="*/ 329037 h 367880"/>
                  <a:gd name="connsiteX12" fmla="*/ 191609 w 230787"/>
                  <a:gd name="connsiteY12" fmla="*/ 246794 h 367880"/>
                  <a:gd name="connsiteX13" fmla="*/ 191609 w 230787"/>
                  <a:gd name="connsiteY13" fmla="*/ 121086 h 36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30787" h="367880">
                    <a:moveTo>
                      <a:pt x="230788" y="246794"/>
                    </a:moveTo>
                    <a:cubicBezTo>
                      <a:pt x="230788" y="321937"/>
                      <a:pt x="183840" y="367881"/>
                      <a:pt x="115394" y="367881"/>
                    </a:cubicBezTo>
                    <a:cubicBezTo>
                      <a:pt x="46948" y="367881"/>
                      <a:pt x="0" y="321937"/>
                      <a:pt x="0" y="246794"/>
                    </a:cubicBezTo>
                    <a:lnTo>
                      <a:pt x="0" y="121086"/>
                    </a:lnTo>
                    <a:cubicBezTo>
                      <a:pt x="0" y="45943"/>
                      <a:pt x="46948" y="0"/>
                      <a:pt x="115394" y="0"/>
                    </a:cubicBezTo>
                    <a:cubicBezTo>
                      <a:pt x="183840" y="0"/>
                      <a:pt x="230788" y="45943"/>
                      <a:pt x="230788" y="121086"/>
                    </a:cubicBezTo>
                    <a:lnTo>
                      <a:pt x="230788" y="246794"/>
                    </a:lnTo>
                    <a:close/>
                    <a:moveTo>
                      <a:pt x="191609" y="121086"/>
                    </a:moveTo>
                    <a:cubicBezTo>
                      <a:pt x="191609" y="67039"/>
                      <a:pt x="157922" y="38844"/>
                      <a:pt x="115528" y="38844"/>
                    </a:cubicBezTo>
                    <a:cubicBezTo>
                      <a:pt x="73134" y="38844"/>
                      <a:pt x="39447" y="66839"/>
                      <a:pt x="39447" y="121086"/>
                    </a:cubicBezTo>
                    <a:lnTo>
                      <a:pt x="39447" y="246794"/>
                    </a:lnTo>
                    <a:cubicBezTo>
                      <a:pt x="39447" y="300841"/>
                      <a:pt x="73134" y="329037"/>
                      <a:pt x="115528" y="329037"/>
                    </a:cubicBezTo>
                    <a:cubicBezTo>
                      <a:pt x="157922" y="329037"/>
                      <a:pt x="191609" y="301042"/>
                      <a:pt x="191609" y="246794"/>
                    </a:cubicBezTo>
                    <a:lnTo>
                      <a:pt x="191609" y="121086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40" name="Forma Livre: Forma 39">
                <a:extLst>
                  <a:ext uri="{FF2B5EF4-FFF2-40B4-BE49-F238E27FC236}">
                    <a16:creationId xmlns:a16="http://schemas.microsoft.com/office/drawing/2014/main" id="{9FAFD57D-23D4-4E01-8533-E81665572087}"/>
                  </a:ext>
                </a:extLst>
              </p:cNvPr>
              <p:cNvSpPr/>
              <p:nvPr/>
            </p:nvSpPr>
            <p:spPr>
              <a:xfrm>
                <a:off x="6380834" y="3027364"/>
                <a:ext cx="230787" cy="357567"/>
              </a:xfrm>
              <a:custGeom>
                <a:avLst/>
                <a:gdLst>
                  <a:gd name="connsiteX0" fmla="*/ 115461 w 230787"/>
                  <a:gd name="connsiteY0" fmla="*/ 218599 h 357567"/>
                  <a:gd name="connsiteX1" fmla="*/ 39380 w 230787"/>
                  <a:gd name="connsiteY1" fmla="*/ 218599 h 357567"/>
                  <a:gd name="connsiteX2" fmla="*/ 39380 w 230787"/>
                  <a:gd name="connsiteY2" fmla="*/ 357567 h 357567"/>
                  <a:gd name="connsiteX3" fmla="*/ 0 w 230787"/>
                  <a:gd name="connsiteY3" fmla="*/ 357567 h 357567"/>
                  <a:gd name="connsiteX4" fmla="*/ 0 w 230787"/>
                  <a:gd name="connsiteY4" fmla="*/ 0 h 357567"/>
                  <a:gd name="connsiteX5" fmla="*/ 115394 w 230787"/>
                  <a:gd name="connsiteY5" fmla="*/ 0 h 357567"/>
                  <a:gd name="connsiteX6" fmla="*/ 230788 w 230787"/>
                  <a:gd name="connsiteY6" fmla="*/ 109366 h 357567"/>
                  <a:gd name="connsiteX7" fmla="*/ 115461 w 230787"/>
                  <a:gd name="connsiteY7" fmla="*/ 218599 h 357567"/>
                  <a:gd name="connsiteX8" fmla="*/ 115461 w 230787"/>
                  <a:gd name="connsiteY8" fmla="*/ 38844 h 357567"/>
                  <a:gd name="connsiteX9" fmla="*/ 39380 w 230787"/>
                  <a:gd name="connsiteY9" fmla="*/ 38844 h 357567"/>
                  <a:gd name="connsiteX10" fmla="*/ 39380 w 230787"/>
                  <a:gd name="connsiteY10" fmla="*/ 179755 h 357567"/>
                  <a:gd name="connsiteX11" fmla="*/ 115461 w 230787"/>
                  <a:gd name="connsiteY11" fmla="*/ 179755 h 357567"/>
                  <a:gd name="connsiteX12" fmla="*/ 190604 w 230787"/>
                  <a:gd name="connsiteY12" fmla="*/ 109165 h 357567"/>
                  <a:gd name="connsiteX13" fmla="*/ 115461 w 230787"/>
                  <a:gd name="connsiteY13" fmla="*/ 38844 h 357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30787" h="357567">
                    <a:moveTo>
                      <a:pt x="115461" y="218599"/>
                    </a:moveTo>
                    <a:lnTo>
                      <a:pt x="39380" y="218599"/>
                    </a:lnTo>
                    <a:lnTo>
                      <a:pt x="39380" y="357567"/>
                    </a:lnTo>
                    <a:lnTo>
                      <a:pt x="0" y="357567"/>
                    </a:lnTo>
                    <a:lnTo>
                      <a:pt x="0" y="0"/>
                    </a:lnTo>
                    <a:lnTo>
                      <a:pt x="115394" y="0"/>
                    </a:lnTo>
                    <a:cubicBezTo>
                      <a:pt x="198172" y="0"/>
                      <a:pt x="230788" y="45943"/>
                      <a:pt x="230788" y="109366"/>
                    </a:cubicBezTo>
                    <a:cubicBezTo>
                      <a:pt x="230922" y="172656"/>
                      <a:pt x="198105" y="218599"/>
                      <a:pt x="115461" y="218599"/>
                    </a:cubicBezTo>
                    <a:close/>
                    <a:moveTo>
                      <a:pt x="115461" y="38844"/>
                    </a:moveTo>
                    <a:lnTo>
                      <a:pt x="39380" y="38844"/>
                    </a:lnTo>
                    <a:lnTo>
                      <a:pt x="39380" y="179755"/>
                    </a:lnTo>
                    <a:lnTo>
                      <a:pt x="115461" y="179755"/>
                    </a:lnTo>
                    <a:cubicBezTo>
                      <a:pt x="170579" y="179755"/>
                      <a:pt x="190604" y="148010"/>
                      <a:pt x="190604" y="109165"/>
                    </a:cubicBezTo>
                    <a:cubicBezTo>
                      <a:pt x="190470" y="70522"/>
                      <a:pt x="170646" y="38844"/>
                      <a:pt x="115461" y="38844"/>
                    </a:cubicBez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41" name="Forma Livre: Forma 40">
                <a:extLst>
                  <a:ext uri="{FF2B5EF4-FFF2-40B4-BE49-F238E27FC236}">
                    <a16:creationId xmlns:a16="http://schemas.microsoft.com/office/drawing/2014/main" id="{733396D7-639A-4754-8D7D-4185EC11D5F4}"/>
                  </a:ext>
                </a:extLst>
              </p:cNvPr>
              <p:cNvSpPr/>
              <p:nvPr/>
            </p:nvSpPr>
            <p:spPr>
              <a:xfrm>
                <a:off x="6616310" y="3027432"/>
                <a:ext cx="274721" cy="357566"/>
              </a:xfrm>
              <a:custGeom>
                <a:avLst/>
                <a:gdLst>
                  <a:gd name="connsiteX0" fmla="*/ 202325 w 274721"/>
                  <a:gd name="connsiteY0" fmla="*/ 256840 h 357566"/>
                  <a:gd name="connsiteX1" fmla="*/ 72532 w 274721"/>
                  <a:gd name="connsiteY1" fmla="*/ 256840 h 357566"/>
                  <a:gd name="connsiteX2" fmla="*/ 39916 w 274721"/>
                  <a:gd name="connsiteY2" fmla="*/ 357567 h 357566"/>
                  <a:gd name="connsiteX3" fmla="*/ 0 w 274721"/>
                  <a:gd name="connsiteY3" fmla="*/ 357567 h 357566"/>
                  <a:gd name="connsiteX4" fmla="*/ 114858 w 274721"/>
                  <a:gd name="connsiteY4" fmla="*/ 0 h 357566"/>
                  <a:gd name="connsiteX5" fmla="*/ 159864 w 274721"/>
                  <a:gd name="connsiteY5" fmla="*/ 0 h 357566"/>
                  <a:gd name="connsiteX6" fmla="*/ 274722 w 274721"/>
                  <a:gd name="connsiteY6" fmla="*/ 357567 h 357566"/>
                  <a:gd name="connsiteX7" fmla="*/ 234806 w 274721"/>
                  <a:gd name="connsiteY7" fmla="*/ 357567 h 357566"/>
                  <a:gd name="connsiteX8" fmla="*/ 202325 w 274721"/>
                  <a:gd name="connsiteY8" fmla="*/ 256840 h 357566"/>
                  <a:gd name="connsiteX9" fmla="*/ 137428 w 274721"/>
                  <a:gd name="connsiteY9" fmla="*/ 54516 h 357566"/>
                  <a:gd name="connsiteX10" fmla="*/ 84252 w 274721"/>
                  <a:gd name="connsiteY10" fmla="*/ 220474 h 357566"/>
                  <a:gd name="connsiteX11" fmla="*/ 190470 w 274721"/>
                  <a:gd name="connsiteY11" fmla="*/ 220474 h 357566"/>
                  <a:gd name="connsiteX12" fmla="*/ 137428 w 274721"/>
                  <a:gd name="connsiteY12" fmla="*/ 54516 h 357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74721" h="357566">
                    <a:moveTo>
                      <a:pt x="202325" y="256840"/>
                    </a:moveTo>
                    <a:lnTo>
                      <a:pt x="72532" y="256840"/>
                    </a:lnTo>
                    <a:lnTo>
                      <a:pt x="39916" y="357567"/>
                    </a:lnTo>
                    <a:lnTo>
                      <a:pt x="0" y="357567"/>
                    </a:lnTo>
                    <a:lnTo>
                      <a:pt x="114858" y="0"/>
                    </a:lnTo>
                    <a:lnTo>
                      <a:pt x="159864" y="0"/>
                    </a:lnTo>
                    <a:lnTo>
                      <a:pt x="274722" y="357567"/>
                    </a:lnTo>
                    <a:lnTo>
                      <a:pt x="234806" y="357567"/>
                    </a:lnTo>
                    <a:lnTo>
                      <a:pt x="202325" y="256840"/>
                    </a:lnTo>
                    <a:close/>
                    <a:moveTo>
                      <a:pt x="137428" y="54516"/>
                    </a:moveTo>
                    <a:lnTo>
                      <a:pt x="84252" y="220474"/>
                    </a:lnTo>
                    <a:lnTo>
                      <a:pt x="190470" y="220474"/>
                    </a:lnTo>
                    <a:lnTo>
                      <a:pt x="137428" y="54516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42" name="Forma Livre: Forma 41">
                <a:extLst>
                  <a:ext uri="{FF2B5EF4-FFF2-40B4-BE49-F238E27FC236}">
                    <a16:creationId xmlns:a16="http://schemas.microsoft.com/office/drawing/2014/main" id="{A45BE1FA-927E-4A17-9CC6-ED320BA7C6F2}"/>
                  </a:ext>
                </a:extLst>
              </p:cNvPr>
              <p:cNvSpPr/>
              <p:nvPr/>
            </p:nvSpPr>
            <p:spPr>
              <a:xfrm>
                <a:off x="6918089" y="3027364"/>
                <a:ext cx="230921" cy="362723"/>
              </a:xfrm>
              <a:custGeom>
                <a:avLst/>
                <a:gdLst>
                  <a:gd name="connsiteX0" fmla="*/ 0 w 230921"/>
                  <a:gd name="connsiteY0" fmla="*/ 0 h 362723"/>
                  <a:gd name="connsiteX1" fmla="*/ 39380 w 230921"/>
                  <a:gd name="connsiteY1" fmla="*/ 0 h 362723"/>
                  <a:gd name="connsiteX2" fmla="*/ 39380 w 230921"/>
                  <a:gd name="connsiteY2" fmla="*/ 241637 h 362723"/>
                  <a:gd name="connsiteX3" fmla="*/ 115461 w 230921"/>
                  <a:gd name="connsiteY3" fmla="*/ 323880 h 362723"/>
                  <a:gd name="connsiteX4" fmla="*/ 191542 w 230921"/>
                  <a:gd name="connsiteY4" fmla="*/ 241637 h 362723"/>
                  <a:gd name="connsiteX5" fmla="*/ 191542 w 230921"/>
                  <a:gd name="connsiteY5" fmla="*/ 0 h 362723"/>
                  <a:gd name="connsiteX6" fmla="*/ 230922 w 230921"/>
                  <a:gd name="connsiteY6" fmla="*/ 0 h 362723"/>
                  <a:gd name="connsiteX7" fmla="*/ 230922 w 230921"/>
                  <a:gd name="connsiteY7" fmla="*/ 241637 h 362723"/>
                  <a:gd name="connsiteX8" fmla="*/ 115528 w 230921"/>
                  <a:gd name="connsiteY8" fmla="*/ 362724 h 362723"/>
                  <a:gd name="connsiteX9" fmla="*/ 134 w 230921"/>
                  <a:gd name="connsiteY9" fmla="*/ 241637 h 362723"/>
                  <a:gd name="connsiteX10" fmla="*/ 134 w 230921"/>
                  <a:gd name="connsiteY10" fmla="*/ 0 h 362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30921" h="362723">
                    <a:moveTo>
                      <a:pt x="0" y="0"/>
                    </a:moveTo>
                    <a:lnTo>
                      <a:pt x="39380" y="0"/>
                    </a:lnTo>
                    <a:lnTo>
                      <a:pt x="39380" y="241637"/>
                    </a:lnTo>
                    <a:cubicBezTo>
                      <a:pt x="39380" y="295684"/>
                      <a:pt x="73067" y="323880"/>
                      <a:pt x="115461" y="323880"/>
                    </a:cubicBezTo>
                    <a:cubicBezTo>
                      <a:pt x="157855" y="323880"/>
                      <a:pt x="191542" y="295885"/>
                      <a:pt x="191542" y="241637"/>
                    </a:cubicBezTo>
                    <a:lnTo>
                      <a:pt x="191542" y="0"/>
                    </a:lnTo>
                    <a:lnTo>
                      <a:pt x="230922" y="0"/>
                    </a:lnTo>
                    <a:lnTo>
                      <a:pt x="230922" y="241637"/>
                    </a:lnTo>
                    <a:cubicBezTo>
                      <a:pt x="230922" y="316781"/>
                      <a:pt x="183974" y="362724"/>
                      <a:pt x="115528" y="362724"/>
                    </a:cubicBezTo>
                    <a:cubicBezTo>
                      <a:pt x="47082" y="362724"/>
                      <a:pt x="134" y="316781"/>
                      <a:pt x="134" y="241637"/>
                    </a:cubicBezTo>
                    <a:lnTo>
                      <a:pt x="134" y="0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43" name="Forma Livre: Forma 42">
                <a:extLst>
                  <a:ext uri="{FF2B5EF4-FFF2-40B4-BE49-F238E27FC236}">
                    <a16:creationId xmlns:a16="http://schemas.microsoft.com/office/drawing/2014/main" id="{2B16887F-33EA-4C7C-9D0E-B7B1EC98B2B0}"/>
                  </a:ext>
                </a:extLst>
              </p:cNvPr>
              <p:cNvSpPr/>
              <p:nvPr/>
            </p:nvSpPr>
            <p:spPr>
              <a:xfrm>
                <a:off x="7230784" y="3027364"/>
                <a:ext cx="203395" cy="357633"/>
              </a:xfrm>
              <a:custGeom>
                <a:avLst/>
                <a:gdLst>
                  <a:gd name="connsiteX0" fmla="*/ 0 w 203395"/>
                  <a:gd name="connsiteY0" fmla="*/ 0 h 357633"/>
                  <a:gd name="connsiteX1" fmla="*/ 39380 w 203395"/>
                  <a:gd name="connsiteY1" fmla="*/ 0 h 357633"/>
                  <a:gd name="connsiteX2" fmla="*/ 39380 w 203395"/>
                  <a:gd name="connsiteY2" fmla="*/ 318790 h 357633"/>
                  <a:gd name="connsiteX3" fmla="*/ 203396 w 203395"/>
                  <a:gd name="connsiteY3" fmla="*/ 318790 h 357633"/>
                  <a:gd name="connsiteX4" fmla="*/ 203396 w 203395"/>
                  <a:gd name="connsiteY4" fmla="*/ 357634 h 357633"/>
                  <a:gd name="connsiteX5" fmla="*/ 67 w 203395"/>
                  <a:gd name="connsiteY5" fmla="*/ 357634 h 357633"/>
                  <a:gd name="connsiteX6" fmla="*/ 67 w 203395"/>
                  <a:gd name="connsiteY6" fmla="*/ 0 h 357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3395" h="357633">
                    <a:moveTo>
                      <a:pt x="0" y="0"/>
                    </a:moveTo>
                    <a:lnTo>
                      <a:pt x="39380" y="0"/>
                    </a:lnTo>
                    <a:lnTo>
                      <a:pt x="39380" y="318790"/>
                    </a:lnTo>
                    <a:lnTo>
                      <a:pt x="203396" y="318790"/>
                    </a:lnTo>
                    <a:lnTo>
                      <a:pt x="203396" y="357634"/>
                    </a:lnTo>
                    <a:lnTo>
                      <a:pt x="67" y="357634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44" name="Forma Livre: Forma 43">
                <a:extLst>
                  <a:ext uri="{FF2B5EF4-FFF2-40B4-BE49-F238E27FC236}">
                    <a16:creationId xmlns:a16="http://schemas.microsoft.com/office/drawing/2014/main" id="{9A49D3FD-35C7-4F77-9673-5FBCF518275B}"/>
                  </a:ext>
                </a:extLst>
              </p:cNvPr>
              <p:cNvSpPr/>
              <p:nvPr/>
            </p:nvSpPr>
            <p:spPr>
              <a:xfrm>
                <a:off x="7477980" y="3023413"/>
                <a:ext cx="230787" cy="367880"/>
              </a:xfrm>
              <a:custGeom>
                <a:avLst/>
                <a:gdLst>
                  <a:gd name="connsiteX0" fmla="*/ 230788 w 230787"/>
                  <a:gd name="connsiteY0" fmla="*/ 246794 h 367880"/>
                  <a:gd name="connsiteX1" fmla="*/ 115394 w 230787"/>
                  <a:gd name="connsiteY1" fmla="*/ 367881 h 367880"/>
                  <a:gd name="connsiteX2" fmla="*/ 0 w 230787"/>
                  <a:gd name="connsiteY2" fmla="*/ 246794 h 367880"/>
                  <a:gd name="connsiteX3" fmla="*/ 0 w 230787"/>
                  <a:gd name="connsiteY3" fmla="*/ 121086 h 367880"/>
                  <a:gd name="connsiteX4" fmla="*/ 115394 w 230787"/>
                  <a:gd name="connsiteY4" fmla="*/ 0 h 367880"/>
                  <a:gd name="connsiteX5" fmla="*/ 230788 w 230787"/>
                  <a:gd name="connsiteY5" fmla="*/ 121086 h 367880"/>
                  <a:gd name="connsiteX6" fmla="*/ 230788 w 230787"/>
                  <a:gd name="connsiteY6" fmla="*/ 246794 h 367880"/>
                  <a:gd name="connsiteX7" fmla="*/ 191609 w 230787"/>
                  <a:gd name="connsiteY7" fmla="*/ 121287 h 367880"/>
                  <a:gd name="connsiteX8" fmla="*/ 115528 w 230787"/>
                  <a:gd name="connsiteY8" fmla="*/ 39045 h 367880"/>
                  <a:gd name="connsiteX9" fmla="*/ 39447 w 230787"/>
                  <a:gd name="connsiteY9" fmla="*/ 121287 h 367880"/>
                  <a:gd name="connsiteX10" fmla="*/ 39447 w 230787"/>
                  <a:gd name="connsiteY10" fmla="*/ 246995 h 367880"/>
                  <a:gd name="connsiteX11" fmla="*/ 115528 w 230787"/>
                  <a:gd name="connsiteY11" fmla="*/ 329238 h 367880"/>
                  <a:gd name="connsiteX12" fmla="*/ 191609 w 230787"/>
                  <a:gd name="connsiteY12" fmla="*/ 246995 h 367880"/>
                  <a:gd name="connsiteX13" fmla="*/ 191609 w 230787"/>
                  <a:gd name="connsiteY13" fmla="*/ 121287 h 36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30787" h="367880">
                    <a:moveTo>
                      <a:pt x="230788" y="246794"/>
                    </a:moveTo>
                    <a:cubicBezTo>
                      <a:pt x="230788" y="321938"/>
                      <a:pt x="183840" y="367881"/>
                      <a:pt x="115394" y="367881"/>
                    </a:cubicBezTo>
                    <a:cubicBezTo>
                      <a:pt x="46948" y="367881"/>
                      <a:pt x="0" y="321938"/>
                      <a:pt x="0" y="246794"/>
                    </a:cubicBezTo>
                    <a:lnTo>
                      <a:pt x="0" y="121086"/>
                    </a:lnTo>
                    <a:cubicBezTo>
                      <a:pt x="0" y="45943"/>
                      <a:pt x="46948" y="0"/>
                      <a:pt x="115394" y="0"/>
                    </a:cubicBezTo>
                    <a:cubicBezTo>
                      <a:pt x="183840" y="0"/>
                      <a:pt x="230788" y="45943"/>
                      <a:pt x="230788" y="121086"/>
                    </a:cubicBezTo>
                    <a:lnTo>
                      <a:pt x="230788" y="246794"/>
                    </a:lnTo>
                    <a:close/>
                    <a:moveTo>
                      <a:pt x="191609" y="121287"/>
                    </a:moveTo>
                    <a:cubicBezTo>
                      <a:pt x="191609" y="67241"/>
                      <a:pt x="157922" y="39045"/>
                      <a:pt x="115528" y="39045"/>
                    </a:cubicBezTo>
                    <a:cubicBezTo>
                      <a:pt x="73134" y="39045"/>
                      <a:pt x="39447" y="67040"/>
                      <a:pt x="39447" y="121287"/>
                    </a:cubicBezTo>
                    <a:lnTo>
                      <a:pt x="39447" y="246995"/>
                    </a:lnTo>
                    <a:cubicBezTo>
                      <a:pt x="39447" y="301042"/>
                      <a:pt x="73134" y="329238"/>
                      <a:pt x="115528" y="329238"/>
                    </a:cubicBezTo>
                    <a:cubicBezTo>
                      <a:pt x="157922" y="329238"/>
                      <a:pt x="191609" y="301243"/>
                      <a:pt x="191609" y="246995"/>
                    </a:cubicBezTo>
                    <a:lnTo>
                      <a:pt x="191609" y="121287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45" name="Forma Livre: Forma 44">
                <a:extLst>
                  <a:ext uri="{FF2B5EF4-FFF2-40B4-BE49-F238E27FC236}">
                    <a16:creationId xmlns:a16="http://schemas.microsoft.com/office/drawing/2014/main" id="{1A369F6A-B75E-4C0C-BEC3-BAD03FF1AB30}"/>
                  </a:ext>
                </a:extLst>
              </p:cNvPr>
              <p:cNvSpPr/>
              <p:nvPr/>
            </p:nvSpPr>
            <p:spPr>
              <a:xfrm>
                <a:off x="6368511" y="3546805"/>
                <a:ext cx="230452" cy="357633"/>
              </a:xfrm>
              <a:custGeom>
                <a:avLst/>
                <a:gdLst>
                  <a:gd name="connsiteX0" fmla="*/ 0 w 230452"/>
                  <a:gd name="connsiteY0" fmla="*/ 38844 h 357633"/>
                  <a:gd name="connsiteX1" fmla="*/ 0 w 230452"/>
                  <a:gd name="connsiteY1" fmla="*/ 0 h 357633"/>
                  <a:gd name="connsiteX2" fmla="*/ 230453 w 230452"/>
                  <a:gd name="connsiteY2" fmla="*/ 0 h 357633"/>
                  <a:gd name="connsiteX3" fmla="*/ 230453 w 230452"/>
                  <a:gd name="connsiteY3" fmla="*/ 38844 h 357633"/>
                  <a:gd name="connsiteX4" fmla="*/ 134883 w 230452"/>
                  <a:gd name="connsiteY4" fmla="*/ 38844 h 357633"/>
                  <a:gd name="connsiteX5" fmla="*/ 134883 w 230452"/>
                  <a:gd name="connsiteY5" fmla="*/ 357634 h 357633"/>
                  <a:gd name="connsiteX6" fmla="*/ 95503 w 230452"/>
                  <a:gd name="connsiteY6" fmla="*/ 357634 h 357633"/>
                  <a:gd name="connsiteX7" fmla="*/ 95503 w 230452"/>
                  <a:gd name="connsiteY7" fmla="*/ 38844 h 357633"/>
                  <a:gd name="connsiteX8" fmla="*/ 0 w 230452"/>
                  <a:gd name="connsiteY8" fmla="*/ 38844 h 357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30452" h="357633">
                    <a:moveTo>
                      <a:pt x="0" y="38844"/>
                    </a:moveTo>
                    <a:lnTo>
                      <a:pt x="0" y="0"/>
                    </a:lnTo>
                    <a:lnTo>
                      <a:pt x="230453" y="0"/>
                    </a:lnTo>
                    <a:lnTo>
                      <a:pt x="230453" y="38844"/>
                    </a:lnTo>
                    <a:lnTo>
                      <a:pt x="134883" y="38844"/>
                    </a:lnTo>
                    <a:lnTo>
                      <a:pt x="134883" y="357634"/>
                    </a:lnTo>
                    <a:lnTo>
                      <a:pt x="95503" y="357634"/>
                    </a:lnTo>
                    <a:lnTo>
                      <a:pt x="95503" y="38844"/>
                    </a:lnTo>
                    <a:cubicBezTo>
                      <a:pt x="95503" y="38844"/>
                      <a:pt x="0" y="38844"/>
                      <a:pt x="0" y="38844"/>
                    </a:cubicBez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46" name="Forma Livre: Forma 45">
                <a:extLst>
                  <a:ext uri="{FF2B5EF4-FFF2-40B4-BE49-F238E27FC236}">
                    <a16:creationId xmlns:a16="http://schemas.microsoft.com/office/drawing/2014/main" id="{524DC7B4-BE50-4440-8FCB-2DD01C29CB24}"/>
                  </a:ext>
                </a:extLst>
              </p:cNvPr>
              <p:cNvSpPr/>
              <p:nvPr/>
            </p:nvSpPr>
            <p:spPr>
              <a:xfrm>
                <a:off x="6657163" y="3546871"/>
                <a:ext cx="203329" cy="357567"/>
              </a:xfrm>
              <a:custGeom>
                <a:avLst/>
                <a:gdLst>
                  <a:gd name="connsiteX0" fmla="*/ 39313 w 203329"/>
                  <a:gd name="connsiteY0" fmla="*/ 318723 h 357567"/>
                  <a:gd name="connsiteX1" fmla="*/ 203329 w 203329"/>
                  <a:gd name="connsiteY1" fmla="*/ 318723 h 357567"/>
                  <a:gd name="connsiteX2" fmla="*/ 203329 w 203329"/>
                  <a:gd name="connsiteY2" fmla="*/ 357567 h 357567"/>
                  <a:gd name="connsiteX3" fmla="*/ 0 w 203329"/>
                  <a:gd name="connsiteY3" fmla="*/ 357567 h 357567"/>
                  <a:gd name="connsiteX4" fmla="*/ 0 w 203329"/>
                  <a:gd name="connsiteY4" fmla="*/ 0 h 357567"/>
                  <a:gd name="connsiteX5" fmla="*/ 203329 w 203329"/>
                  <a:gd name="connsiteY5" fmla="*/ 0 h 357567"/>
                  <a:gd name="connsiteX6" fmla="*/ 203329 w 203329"/>
                  <a:gd name="connsiteY6" fmla="*/ 38844 h 357567"/>
                  <a:gd name="connsiteX7" fmla="*/ 39313 w 203329"/>
                  <a:gd name="connsiteY7" fmla="*/ 38844 h 357567"/>
                  <a:gd name="connsiteX8" fmla="*/ 39313 w 203329"/>
                  <a:gd name="connsiteY8" fmla="*/ 157252 h 357567"/>
                  <a:gd name="connsiteX9" fmla="*/ 167499 w 203329"/>
                  <a:gd name="connsiteY9" fmla="*/ 157252 h 357567"/>
                  <a:gd name="connsiteX10" fmla="*/ 167499 w 203329"/>
                  <a:gd name="connsiteY10" fmla="*/ 196096 h 357567"/>
                  <a:gd name="connsiteX11" fmla="*/ 39313 w 203329"/>
                  <a:gd name="connsiteY11" fmla="*/ 196096 h 357567"/>
                  <a:gd name="connsiteX12" fmla="*/ 39313 w 203329"/>
                  <a:gd name="connsiteY12" fmla="*/ 318723 h 357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3329" h="357567">
                    <a:moveTo>
                      <a:pt x="39313" y="318723"/>
                    </a:moveTo>
                    <a:lnTo>
                      <a:pt x="203329" y="318723"/>
                    </a:lnTo>
                    <a:lnTo>
                      <a:pt x="203329" y="357567"/>
                    </a:lnTo>
                    <a:lnTo>
                      <a:pt x="0" y="357567"/>
                    </a:lnTo>
                    <a:lnTo>
                      <a:pt x="0" y="0"/>
                    </a:lnTo>
                    <a:lnTo>
                      <a:pt x="203329" y="0"/>
                    </a:lnTo>
                    <a:lnTo>
                      <a:pt x="203329" y="38844"/>
                    </a:lnTo>
                    <a:lnTo>
                      <a:pt x="39313" y="38844"/>
                    </a:lnTo>
                    <a:lnTo>
                      <a:pt x="39313" y="157252"/>
                    </a:lnTo>
                    <a:lnTo>
                      <a:pt x="167499" y="157252"/>
                    </a:lnTo>
                    <a:lnTo>
                      <a:pt x="167499" y="196096"/>
                    </a:lnTo>
                    <a:lnTo>
                      <a:pt x="39313" y="196096"/>
                    </a:lnTo>
                    <a:lnTo>
                      <a:pt x="39313" y="318723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47" name="Forma Livre: Forma 46">
                <a:extLst>
                  <a:ext uri="{FF2B5EF4-FFF2-40B4-BE49-F238E27FC236}">
                    <a16:creationId xmlns:a16="http://schemas.microsoft.com/office/drawing/2014/main" id="{A7CA4198-EEAF-45F8-BC2D-78C552DB3197}"/>
                  </a:ext>
                </a:extLst>
              </p:cNvPr>
              <p:cNvSpPr/>
              <p:nvPr/>
            </p:nvSpPr>
            <p:spPr>
              <a:xfrm>
                <a:off x="6920232" y="3541715"/>
                <a:ext cx="230252" cy="367880"/>
              </a:xfrm>
              <a:custGeom>
                <a:avLst/>
                <a:gdLst>
                  <a:gd name="connsiteX0" fmla="*/ 230252 w 230252"/>
                  <a:gd name="connsiteY0" fmla="*/ 110907 h 367880"/>
                  <a:gd name="connsiteX1" fmla="*/ 190872 w 230252"/>
                  <a:gd name="connsiteY1" fmla="*/ 110907 h 367880"/>
                  <a:gd name="connsiteX2" fmla="*/ 115327 w 230252"/>
                  <a:gd name="connsiteY2" fmla="*/ 38911 h 367880"/>
                  <a:gd name="connsiteX3" fmla="*/ 39246 w 230252"/>
                  <a:gd name="connsiteY3" fmla="*/ 121153 h 367880"/>
                  <a:gd name="connsiteX4" fmla="*/ 39246 w 230252"/>
                  <a:gd name="connsiteY4" fmla="*/ 246861 h 367880"/>
                  <a:gd name="connsiteX5" fmla="*/ 115327 w 230252"/>
                  <a:gd name="connsiteY5" fmla="*/ 329103 h 367880"/>
                  <a:gd name="connsiteX6" fmla="*/ 190872 w 230252"/>
                  <a:gd name="connsiteY6" fmla="*/ 257108 h 367880"/>
                  <a:gd name="connsiteX7" fmla="*/ 230252 w 230252"/>
                  <a:gd name="connsiteY7" fmla="*/ 257108 h 367880"/>
                  <a:gd name="connsiteX8" fmla="*/ 115394 w 230252"/>
                  <a:gd name="connsiteY8" fmla="*/ 367881 h 367880"/>
                  <a:gd name="connsiteX9" fmla="*/ 0 w 230252"/>
                  <a:gd name="connsiteY9" fmla="*/ 246794 h 367880"/>
                  <a:gd name="connsiteX10" fmla="*/ 0 w 230252"/>
                  <a:gd name="connsiteY10" fmla="*/ 121086 h 367880"/>
                  <a:gd name="connsiteX11" fmla="*/ 115394 w 230252"/>
                  <a:gd name="connsiteY11" fmla="*/ 0 h 367880"/>
                  <a:gd name="connsiteX12" fmla="*/ 230252 w 230252"/>
                  <a:gd name="connsiteY12" fmla="*/ 110907 h 36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0252" h="367880">
                    <a:moveTo>
                      <a:pt x="230252" y="110907"/>
                    </a:moveTo>
                    <a:lnTo>
                      <a:pt x="190872" y="110907"/>
                    </a:lnTo>
                    <a:cubicBezTo>
                      <a:pt x="186787" y="63423"/>
                      <a:pt x="155041" y="38911"/>
                      <a:pt x="115327" y="38911"/>
                    </a:cubicBezTo>
                    <a:cubicBezTo>
                      <a:pt x="72933" y="38911"/>
                      <a:pt x="39246" y="66906"/>
                      <a:pt x="39246" y="121153"/>
                    </a:cubicBezTo>
                    <a:lnTo>
                      <a:pt x="39246" y="246861"/>
                    </a:lnTo>
                    <a:cubicBezTo>
                      <a:pt x="39246" y="300908"/>
                      <a:pt x="72933" y="329103"/>
                      <a:pt x="115327" y="329103"/>
                    </a:cubicBezTo>
                    <a:cubicBezTo>
                      <a:pt x="155243" y="329103"/>
                      <a:pt x="186787" y="304659"/>
                      <a:pt x="190872" y="257108"/>
                    </a:cubicBezTo>
                    <a:lnTo>
                      <a:pt x="230252" y="257108"/>
                    </a:lnTo>
                    <a:cubicBezTo>
                      <a:pt x="226167" y="326090"/>
                      <a:pt x="180759" y="367881"/>
                      <a:pt x="115394" y="367881"/>
                    </a:cubicBezTo>
                    <a:cubicBezTo>
                      <a:pt x="46948" y="367881"/>
                      <a:pt x="0" y="321938"/>
                      <a:pt x="0" y="246794"/>
                    </a:cubicBezTo>
                    <a:lnTo>
                      <a:pt x="0" y="121086"/>
                    </a:lnTo>
                    <a:cubicBezTo>
                      <a:pt x="0" y="45943"/>
                      <a:pt x="46948" y="0"/>
                      <a:pt x="115394" y="0"/>
                    </a:cubicBezTo>
                    <a:cubicBezTo>
                      <a:pt x="180826" y="-67"/>
                      <a:pt x="226167" y="41992"/>
                      <a:pt x="230252" y="110907"/>
                    </a:cubicBez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48" name="Forma Livre: Forma 47">
                <a:extLst>
                  <a:ext uri="{FF2B5EF4-FFF2-40B4-BE49-F238E27FC236}">
                    <a16:creationId xmlns:a16="http://schemas.microsoft.com/office/drawing/2014/main" id="{C4890EF8-EBA8-4FC7-B68C-86930D63005E}"/>
                  </a:ext>
                </a:extLst>
              </p:cNvPr>
              <p:cNvSpPr/>
              <p:nvPr/>
            </p:nvSpPr>
            <p:spPr>
              <a:xfrm>
                <a:off x="7218394" y="3546805"/>
                <a:ext cx="231055" cy="357566"/>
              </a:xfrm>
              <a:custGeom>
                <a:avLst/>
                <a:gdLst>
                  <a:gd name="connsiteX0" fmla="*/ 191676 w 231055"/>
                  <a:gd name="connsiteY0" fmla="*/ 0 h 357566"/>
                  <a:gd name="connsiteX1" fmla="*/ 231056 w 231055"/>
                  <a:gd name="connsiteY1" fmla="*/ 0 h 357566"/>
                  <a:gd name="connsiteX2" fmla="*/ 231056 w 231055"/>
                  <a:gd name="connsiteY2" fmla="*/ 357567 h 357566"/>
                  <a:gd name="connsiteX3" fmla="*/ 191676 w 231055"/>
                  <a:gd name="connsiteY3" fmla="*/ 357567 h 357566"/>
                  <a:gd name="connsiteX4" fmla="*/ 191676 w 231055"/>
                  <a:gd name="connsiteY4" fmla="*/ 196230 h 357566"/>
                  <a:gd name="connsiteX5" fmla="*/ 39380 w 231055"/>
                  <a:gd name="connsiteY5" fmla="*/ 196230 h 357566"/>
                  <a:gd name="connsiteX6" fmla="*/ 39380 w 231055"/>
                  <a:gd name="connsiteY6" fmla="*/ 357567 h 357566"/>
                  <a:gd name="connsiteX7" fmla="*/ 0 w 231055"/>
                  <a:gd name="connsiteY7" fmla="*/ 357567 h 357566"/>
                  <a:gd name="connsiteX8" fmla="*/ 0 w 231055"/>
                  <a:gd name="connsiteY8" fmla="*/ 0 h 357566"/>
                  <a:gd name="connsiteX9" fmla="*/ 39380 w 231055"/>
                  <a:gd name="connsiteY9" fmla="*/ 0 h 357566"/>
                  <a:gd name="connsiteX10" fmla="*/ 39380 w 231055"/>
                  <a:gd name="connsiteY10" fmla="*/ 157252 h 357566"/>
                  <a:gd name="connsiteX11" fmla="*/ 191676 w 231055"/>
                  <a:gd name="connsiteY11" fmla="*/ 157252 h 357566"/>
                  <a:gd name="connsiteX12" fmla="*/ 191676 w 231055"/>
                  <a:gd name="connsiteY12" fmla="*/ 0 h 357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1055" h="357566">
                    <a:moveTo>
                      <a:pt x="191676" y="0"/>
                    </a:moveTo>
                    <a:lnTo>
                      <a:pt x="231056" y="0"/>
                    </a:lnTo>
                    <a:lnTo>
                      <a:pt x="231056" y="357567"/>
                    </a:lnTo>
                    <a:lnTo>
                      <a:pt x="191676" y="357567"/>
                    </a:lnTo>
                    <a:lnTo>
                      <a:pt x="191676" y="196230"/>
                    </a:lnTo>
                    <a:lnTo>
                      <a:pt x="39380" y="196230"/>
                    </a:lnTo>
                    <a:lnTo>
                      <a:pt x="39380" y="357567"/>
                    </a:lnTo>
                    <a:lnTo>
                      <a:pt x="0" y="357567"/>
                    </a:lnTo>
                    <a:lnTo>
                      <a:pt x="0" y="0"/>
                    </a:lnTo>
                    <a:lnTo>
                      <a:pt x="39380" y="0"/>
                    </a:lnTo>
                    <a:lnTo>
                      <a:pt x="39380" y="157252"/>
                    </a:lnTo>
                    <a:lnTo>
                      <a:pt x="191676" y="157252"/>
                    </a:lnTo>
                    <a:lnTo>
                      <a:pt x="191676" y="0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49" name="Forma Livre: Forma 48">
                <a:extLst>
                  <a:ext uri="{FF2B5EF4-FFF2-40B4-BE49-F238E27FC236}">
                    <a16:creationId xmlns:a16="http://schemas.microsoft.com/office/drawing/2014/main" id="{5748DDB2-E69E-4407-8ADA-D7E1152E5061}"/>
                  </a:ext>
                </a:extLst>
              </p:cNvPr>
              <p:cNvSpPr/>
              <p:nvPr/>
            </p:nvSpPr>
            <p:spPr>
              <a:xfrm>
                <a:off x="6368511" y="4061288"/>
                <a:ext cx="224090" cy="367747"/>
              </a:xfrm>
              <a:custGeom>
                <a:avLst/>
                <a:gdLst>
                  <a:gd name="connsiteX0" fmla="*/ 0 w 224090"/>
                  <a:gd name="connsiteY0" fmla="*/ 256907 h 367747"/>
                  <a:gd name="connsiteX1" fmla="*/ 40451 w 224090"/>
                  <a:gd name="connsiteY1" fmla="*/ 256907 h 367747"/>
                  <a:gd name="connsiteX2" fmla="*/ 115997 w 224090"/>
                  <a:gd name="connsiteY2" fmla="*/ 328903 h 367747"/>
                  <a:gd name="connsiteX3" fmla="*/ 184443 w 224090"/>
                  <a:gd name="connsiteY3" fmla="*/ 272177 h 367747"/>
                  <a:gd name="connsiteX4" fmla="*/ 126645 w 224090"/>
                  <a:gd name="connsiteY4" fmla="*/ 209424 h 367747"/>
                  <a:gd name="connsiteX5" fmla="*/ 81238 w 224090"/>
                  <a:gd name="connsiteY5" fmla="*/ 196632 h 367747"/>
                  <a:gd name="connsiteX6" fmla="*/ 6094 w 224090"/>
                  <a:gd name="connsiteY6" fmla="*/ 95034 h 367747"/>
                  <a:gd name="connsiteX7" fmla="*/ 111777 w 224090"/>
                  <a:gd name="connsiteY7" fmla="*/ 0 h 367747"/>
                  <a:gd name="connsiteX8" fmla="*/ 219536 w 224090"/>
                  <a:gd name="connsiteY8" fmla="*/ 95570 h 367747"/>
                  <a:gd name="connsiteX9" fmla="*/ 179085 w 224090"/>
                  <a:gd name="connsiteY9" fmla="*/ 95570 h 367747"/>
                  <a:gd name="connsiteX10" fmla="*/ 111710 w 224090"/>
                  <a:gd name="connsiteY10" fmla="*/ 38844 h 367747"/>
                  <a:gd name="connsiteX11" fmla="*/ 45742 w 224090"/>
                  <a:gd name="connsiteY11" fmla="*/ 95034 h 367747"/>
                  <a:gd name="connsiteX12" fmla="*/ 98919 w 224090"/>
                  <a:gd name="connsiteY12" fmla="*/ 158323 h 367747"/>
                  <a:gd name="connsiteX13" fmla="*/ 140777 w 224090"/>
                  <a:gd name="connsiteY13" fmla="*/ 170044 h 367747"/>
                  <a:gd name="connsiteX14" fmla="*/ 224091 w 224090"/>
                  <a:gd name="connsiteY14" fmla="*/ 272177 h 367747"/>
                  <a:gd name="connsiteX15" fmla="*/ 115796 w 224090"/>
                  <a:gd name="connsiteY15" fmla="*/ 367747 h 367747"/>
                  <a:gd name="connsiteX16" fmla="*/ 0 w 224090"/>
                  <a:gd name="connsiteY16" fmla="*/ 256907 h 3677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24090" h="367747">
                    <a:moveTo>
                      <a:pt x="0" y="256907"/>
                    </a:moveTo>
                    <a:lnTo>
                      <a:pt x="40451" y="256907"/>
                    </a:lnTo>
                    <a:cubicBezTo>
                      <a:pt x="46680" y="302851"/>
                      <a:pt x="77688" y="328903"/>
                      <a:pt x="115997" y="328903"/>
                    </a:cubicBezTo>
                    <a:cubicBezTo>
                      <a:pt x="156448" y="328903"/>
                      <a:pt x="184443" y="309950"/>
                      <a:pt x="184443" y="272177"/>
                    </a:cubicBezTo>
                    <a:cubicBezTo>
                      <a:pt x="184443" y="239896"/>
                      <a:pt x="167097" y="220608"/>
                      <a:pt x="126645" y="209424"/>
                    </a:cubicBezTo>
                    <a:lnTo>
                      <a:pt x="81238" y="196632"/>
                    </a:lnTo>
                    <a:cubicBezTo>
                      <a:pt x="28062" y="181764"/>
                      <a:pt x="6094" y="138500"/>
                      <a:pt x="6094" y="95034"/>
                    </a:cubicBezTo>
                    <a:cubicBezTo>
                      <a:pt x="6094" y="33687"/>
                      <a:pt x="54650" y="0"/>
                      <a:pt x="111777" y="0"/>
                    </a:cubicBezTo>
                    <a:cubicBezTo>
                      <a:pt x="173660" y="0"/>
                      <a:pt x="211969" y="34759"/>
                      <a:pt x="219536" y="95570"/>
                    </a:cubicBezTo>
                    <a:lnTo>
                      <a:pt x="179085" y="95570"/>
                    </a:lnTo>
                    <a:cubicBezTo>
                      <a:pt x="171450" y="61347"/>
                      <a:pt x="150019" y="38844"/>
                      <a:pt x="111710" y="38844"/>
                    </a:cubicBezTo>
                    <a:cubicBezTo>
                      <a:pt x="68781" y="38844"/>
                      <a:pt x="45742" y="63825"/>
                      <a:pt x="45742" y="95034"/>
                    </a:cubicBezTo>
                    <a:cubicBezTo>
                      <a:pt x="45742" y="127650"/>
                      <a:pt x="62084" y="148211"/>
                      <a:pt x="98919" y="158323"/>
                    </a:cubicBezTo>
                    <a:lnTo>
                      <a:pt x="140777" y="170044"/>
                    </a:lnTo>
                    <a:cubicBezTo>
                      <a:pt x="191274" y="184376"/>
                      <a:pt x="224091" y="215451"/>
                      <a:pt x="224091" y="272177"/>
                    </a:cubicBezTo>
                    <a:cubicBezTo>
                      <a:pt x="224091" y="329439"/>
                      <a:pt x="187389" y="367747"/>
                      <a:pt x="115796" y="367747"/>
                    </a:cubicBezTo>
                    <a:cubicBezTo>
                      <a:pt x="51234" y="367680"/>
                      <a:pt x="5090" y="325353"/>
                      <a:pt x="0" y="256907"/>
                    </a:cubicBez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50" name="Forma Livre: Forma 49">
                <a:extLst>
                  <a:ext uri="{FF2B5EF4-FFF2-40B4-BE49-F238E27FC236}">
                    <a16:creationId xmlns:a16="http://schemas.microsoft.com/office/drawing/2014/main" id="{41BD34B9-801D-44E8-BA9F-458A3E00E8F7}"/>
                  </a:ext>
                </a:extLst>
              </p:cNvPr>
              <p:cNvSpPr/>
              <p:nvPr/>
            </p:nvSpPr>
            <p:spPr>
              <a:xfrm>
                <a:off x="6650600" y="4061154"/>
                <a:ext cx="230252" cy="367880"/>
              </a:xfrm>
              <a:custGeom>
                <a:avLst/>
                <a:gdLst>
                  <a:gd name="connsiteX0" fmla="*/ 230252 w 230252"/>
                  <a:gd name="connsiteY0" fmla="*/ 110907 h 367880"/>
                  <a:gd name="connsiteX1" fmla="*/ 190872 w 230252"/>
                  <a:gd name="connsiteY1" fmla="*/ 110907 h 367880"/>
                  <a:gd name="connsiteX2" fmla="*/ 115327 w 230252"/>
                  <a:gd name="connsiteY2" fmla="*/ 38911 h 367880"/>
                  <a:gd name="connsiteX3" fmla="*/ 39246 w 230252"/>
                  <a:gd name="connsiteY3" fmla="*/ 121153 h 367880"/>
                  <a:gd name="connsiteX4" fmla="*/ 39246 w 230252"/>
                  <a:gd name="connsiteY4" fmla="*/ 246861 h 367880"/>
                  <a:gd name="connsiteX5" fmla="*/ 115327 w 230252"/>
                  <a:gd name="connsiteY5" fmla="*/ 329104 h 367880"/>
                  <a:gd name="connsiteX6" fmla="*/ 190872 w 230252"/>
                  <a:gd name="connsiteY6" fmla="*/ 257108 h 367880"/>
                  <a:gd name="connsiteX7" fmla="*/ 230252 w 230252"/>
                  <a:gd name="connsiteY7" fmla="*/ 257108 h 367880"/>
                  <a:gd name="connsiteX8" fmla="*/ 115394 w 230252"/>
                  <a:gd name="connsiteY8" fmla="*/ 367881 h 367880"/>
                  <a:gd name="connsiteX9" fmla="*/ 0 w 230252"/>
                  <a:gd name="connsiteY9" fmla="*/ 246794 h 367880"/>
                  <a:gd name="connsiteX10" fmla="*/ 0 w 230252"/>
                  <a:gd name="connsiteY10" fmla="*/ 121086 h 367880"/>
                  <a:gd name="connsiteX11" fmla="*/ 115394 w 230252"/>
                  <a:gd name="connsiteY11" fmla="*/ 0 h 367880"/>
                  <a:gd name="connsiteX12" fmla="*/ 230252 w 230252"/>
                  <a:gd name="connsiteY12" fmla="*/ 110907 h 36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0252" h="367880">
                    <a:moveTo>
                      <a:pt x="230252" y="110907"/>
                    </a:moveTo>
                    <a:lnTo>
                      <a:pt x="190872" y="110907"/>
                    </a:lnTo>
                    <a:cubicBezTo>
                      <a:pt x="186787" y="63423"/>
                      <a:pt x="155042" y="38911"/>
                      <a:pt x="115327" y="38911"/>
                    </a:cubicBezTo>
                    <a:cubicBezTo>
                      <a:pt x="72933" y="38911"/>
                      <a:pt x="39246" y="66906"/>
                      <a:pt x="39246" y="121153"/>
                    </a:cubicBezTo>
                    <a:lnTo>
                      <a:pt x="39246" y="246861"/>
                    </a:lnTo>
                    <a:cubicBezTo>
                      <a:pt x="39246" y="300908"/>
                      <a:pt x="72933" y="329104"/>
                      <a:pt x="115327" y="329104"/>
                    </a:cubicBezTo>
                    <a:cubicBezTo>
                      <a:pt x="155243" y="329104"/>
                      <a:pt x="186787" y="304659"/>
                      <a:pt x="190872" y="257108"/>
                    </a:cubicBezTo>
                    <a:lnTo>
                      <a:pt x="230252" y="257108"/>
                    </a:lnTo>
                    <a:cubicBezTo>
                      <a:pt x="226167" y="326090"/>
                      <a:pt x="180759" y="367881"/>
                      <a:pt x="115394" y="367881"/>
                    </a:cubicBezTo>
                    <a:cubicBezTo>
                      <a:pt x="46948" y="367881"/>
                      <a:pt x="0" y="321938"/>
                      <a:pt x="0" y="246794"/>
                    </a:cubicBezTo>
                    <a:lnTo>
                      <a:pt x="0" y="121086"/>
                    </a:lnTo>
                    <a:cubicBezTo>
                      <a:pt x="0" y="45943"/>
                      <a:pt x="46948" y="0"/>
                      <a:pt x="115394" y="0"/>
                    </a:cubicBezTo>
                    <a:cubicBezTo>
                      <a:pt x="180759" y="-67"/>
                      <a:pt x="226167" y="41992"/>
                      <a:pt x="230252" y="110907"/>
                    </a:cubicBez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51" name="Forma Livre: Forma 50">
                <a:extLst>
                  <a:ext uri="{FF2B5EF4-FFF2-40B4-BE49-F238E27FC236}">
                    <a16:creationId xmlns:a16="http://schemas.microsoft.com/office/drawing/2014/main" id="{1A507A84-0E16-42A5-8B29-17B0B043FE14}"/>
                  </a:ext>
                </a:extLst>
              </p:cNvPr>
              <p:cNvSpPr/>
              <p:nvPr/>
            </p:nvSpPr>
            <p:spPr>
              <a:xfrm>
                <a:off x="6948695" y="4066244"/>
                <a:ext cx="231055" cy="357566"/>
              </a:xfrm>
              <a:custGeom>
                <a:avLst/>
                <a:gdLst>
                  <a:gd name="connsiteX0" fmla="*/ 191676 w 231055"/>
                  <a:gd name="connsiteY0" fmla="*/ 0 h 357566"/>
                  <a:gd name="connsiteX1" fmla="*/ 231056 w 231055"/>
                  <a:gd name="connsiteY1" fmla="*/ 0 h 357566"/>
                  <a:gd name="connsiteX2" fmla="*/ 231056 w 231055"/>
                  <a:gd name="connsiteY2" fmla="*/ 357567 h 357566"/>
                  <a:gd name="connsiteX3" fmla="*/ 191676 w 231055"/>
                  <a:gd name="connsiteY3" fmla="*/ 357567 h 357566"/>
                  <a:gd name="connsiteX4" fmla="*/ 191676 w 231055"/>
                  <a:gd name="connsiteY4" fmla="*/ 196230 h 357566"/>
                  <a:gd name="connsiteX5" fmla="*/ 39380 w 231055"/>
                  <a:gd name="connsiteY5" fmla="*/ 196230 h 357566"/>
                  <a:gd name="connsiteX6" fmla="*/ 39380 w 231055"/>
                  <a:gd name="connsiteY6" fmla="*/ 357567 h 357566"/>
                  <a:gd name="connsiteX7" fmla="*/ 0 w 231055"/>
                  <a:gd name="connsiteY7" fmla="*/ 357567 h 357566"/>
                  <a:gd name="connsiteX8" fmla="*/ 0 w 231055"/>
                  <a:gd name="connsiteY8" fmla="*/ 0 h 357566"/>
                  <a:gd name="connsiteX9" fmla="*/ 39380 w 231055"/>
                  <a:gd name="connsiteY9" fmla="*/ 0 h 357566"/>
                  <a:gd name="connsiteX10" fmla="*/ 39380 w 231055"/>
                  <a:gd name="connsiteY10" fmla="*/ 157252 h 357566"/>
                  <a:gd name="connsiteX11" fmla="*/ 191676 w 231055"/>
                  <a:gd name="connsiteY11" fmla="*/ 157252 h 357566"/>
                  <a:gd name="connsiteX12" fmla="*/ 191676 w 231055"/>
                  <a:gd name="connsiteY12" fmla="*/ 0 h 357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1055" h="357566">
                    <a:moveTo>
                      <a:pt x="191676" y="0"/>
                    </a:moveTo>
                    <a:lnTo>
                      <a:pt x="231056" y="0"/>
                    </a:lnTo>
                    <a:lnTo>
                      <a:pt x="231056" y="357567"/>
                    </a:lnTo>
                    <a:lnTo>
                      <a:pt x="191676" y="357567"/>
                    </a:lnTo>
                    <a:lnTo>
                      <a:pt x="191676" y="196230"/>
                    </a:lnTo>
                    <a:lnTo>
                      <a:pt x="39380" y="196230"/>
                    </a:lnTo>
                    <a:lnTo>
                      <a:pt x="39380" y="357567"/>
                    </a:lnTo>
                    <a:lnTo>
                      <a:pt x="0" y="357567"/>
                    </a:lnTo>
                    <a:lnTo>
                      <a:pt x="0" y="0"/>
                    </a:lnTo>
                    <a:lnTo>
                      <a:pt x="39380" y="0"/>
                    </a:lnTo>
                    <a:lnTo>
                      <a:pt x="39380" y="157252"/>
                    </a:lnTo>
                    <a:lnTo>
                      <a:pt x="191676" y="157252"/>
                    </a:lnTo>
                    <a:lnTo>
                      <a:pt x="191676" y="0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52" name="Forma Livre: Forma 51">
                <a:extLst>
                  <a:ext uri="{FF2B5EF4-FFF2-40B4-BE49-F238E27FC236}">
                    <a16:creationId xmlns:a16="http://schemas.microsoft.com/office/drawing/2014/main" id="{F58B0FD0-98E9-4222-A610-8C40061B66C2}"/>
                  </a:ext>
                </a:extLst>
              </p:cNvPr>
              <p:cNvSpPr/>
              <p:nvPr/>
            </p:nvSpPr>
            <p:spPr>
              <a:xfrm>
                <a:off x="7249269" y="4061087"/>
                <a:ext cx="230787" cy="367880"/>
              </a:xfrm>
              <a:custGeom>
                <a:avLst/>
                <a:gdLst>
                  <a:gd name="connsiteX0" fmla="*/ 230788 w 230787"/>
                  <a:gd name="connsiteY0" fmla="*/ 246794 h 367880"/>
                  <a:gd name="connsiteX1" fmla="*/ 115394 w 230787"/>
                  <a:gd name="connsiteY1" fmla="*/ 367881 h 367880"/>
                  <a:gd name="connsiteX2" fmla="*/ 0 w 230787"/>
                  <a:gd name="connsiteY2" fmla="*/ 246794 h 367880"/>
                  <a:gd name="connsiteX3" fmla="*/ 0 w 230787"/>
                  <a:gd name="connsiteY3" fmla="*/ 121087 h 367880"/>
                  <a:gd name="connsiteX4" fmla="*/ 115394 w 230787"/>
                  <a:gd name="connsiteY4" fmla="*/ 0 h 367880"/>
                  <a:gd name="connsiteX5" fmla="*/ 230788 w 230787"/>
                  <a:gd name="connsiteY5" fmla="*/ 121087 h 367880"/>
                  <a:gd name="connsiteX6" fmla="*/ 230788 w 230787"/>
                  <a:gd name="connsiteY6" fmla="*/ 246794 h 367880"/>
                  <a:gd name="connsiteX7" fmla="*/ 191475 w 230787"/>
                  <a:gd name="connsiteY7" fmla="*/ 121087 h 367880"/>
                  <a:gd name="connsiteX8" fmla="*/ 115394 w 230787"/>
                  <a:gd name="connsiteY8" fmla="*/ 38844 h 367880"/>
                  <a:gd name="connsiteX9" fmla="*/ 39313 w 230787"/>
                  <a:gd name="connsiteY9" fmla="*/ 121087 h 367880"/>
                  <a:gd name="connsiteX10" fmla="*/ 39313 w 230787"/>
                  <a:gd name="connsiteY10" fmla="*/ 246794 h 367880"/>
                  <a:gd name="connsiteX11" fmla="*/ 115394 w 230787"/>
                  <a:gd name="connsiteY11" fmla="*/ 329037 h 367880"/>
                  <a:gd name="connsiteX12" fmla="*/ 191475 w 230787"/>
                  <a:gd name="connsiteY12" fmla="*/ 246794 h 367880"/>
                  <a:gd name="connsiteX13" fmla="*/ 191475 w 230787"/>
                  <a:gd name="connsiteY13" fmla="*/ 121087 h 36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30787" h="367880">
                    <a:moveTo>
                      <a:pt x="230788" y="246794"/>
                    </a:moveTo>
                    <a:cubicBezTo>
                      <a:pt x="230788" y="321938"/>
                      <a:pt x="183840" y="367881"/>
                      <a:pt x="115394" y="367881"/>
                    </a:cubicBezTo>
                    <a:cubicBezTo>
                      <a:pt x="46948" y="367881"/>
                      <a:pt x="0" y="321938"/>
                      <a:pt x="0" y="246794"/>
                    </a:cubicBezTo>
                    <a:lnTo>
                      <a:pt x="0" y="121087"/>
                    </a:lnTo>
                    <a:cubicBezTo>
                      <a:pt x="0" y="45943"/>
                      <a:pt x="46948" y="0"/>
                      <a:pt x="115394" y="0"/>
                    </a:cubicBezTo>
                    <a:cubicBezTo>
                      <a:pt x="183840" y="0"/>
                      <a:pt x="230788" y="45943"/>
                      <a:pt x="230788" y="121087"/>
                    </a:cubicBezTo>
                    <a:lnTo>
                      <a:pt x="230788" y="246794"/>
                    </a:lnTo>
                    <a:close/>
                    <a:moveTo>
                      <a:pt x="191475" y="121087"/>
                    </a:moveTo>
                    <a:cubicBezTo>
                      <a:pt x="191475" y="67040"/>
                      <a:pt x="157788" y="38844"/>
                      <a:pt x="115394" y="38844"/>
                    </a:cubicBezTo>
                    <a:cubicBezTo>
                      <a:pt x="73000" y="38844"/>
                      <a:pt x="39313" y="66839"/>
                      <a:pt x="39313" y="121087"/>
                    </a:cubicBezTo>
                    <a:lnTo>
                      <a:pt x="39313" y="246794"/>
                    </a:lnTo>
                    <a:cubicBezTo>
                      <a:pt x="39313" y="300841"/>
                      <a:pt x="73000" y="329037"/>
                      <a:pt x="115394" y="329037"/>
                    </a:cubicBezTo>
                    <a:cubicBezTo>
                      <a:pt x="157788" y="329037"/>
                      <a:pt x="191475" y="301042"/>
                      <a:pt x="191475" y="246794"/>
                    </a:cubicBezTo>
                    <a:lnTo>
                      <a:pt x="191475" y="121087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53" name="Forma Livre: Forma 52">
                <a:extLst>
                  <a:ext uri="{FF2B5EF4-FFF2-40B4-BE49-F238E27FC236}">
                    <a16:creationId xmlns:a16="http://schemas.microsoft.com/office/drawing/2014/main" id="{EAFE4197-94CA-4EEB-9518-DAC7CDBB9C1C}"/>
                  </a:ext>
                </a:extLst>
              </p:cNvPr>
              <p:cNvSpPr/>
              <p:nvPr/>
            </p:nvSpPr>
            <p:spPr>
              <a:xfrm>
                <a:off x="7539327" y="4061087"/>
                <a:ext cx="230787" cy="367880"/>
              </a:xfrm>
              <a:custGeom>
                <a:avLst/>
                <a:gdLst>
                  <a:gd name="connsiteX0" fmla="*/ 230788 w 230787"/>
                  <a:gd name="connsiteY0" fmla="*/ 246794 h 367880"/>
                  <a:gd name="connsiteX1" fmla="*/ 115394 w 230787"/>
                  <a:gd name="connsiteY1" fmla="*/ 367881 h 367880"/>
                  <a:gd name="connsiteX2" fmla="*/ 0 w 230787"/>
                  <a:gd name="connsiteY2" fmla="*/ 246794 h 367880"/>
                  <a:gd name="connsiteX3" fmla="*/ 0 w 230787"/>
                  <a:gd name="connsiteY3" fmla="*/ 121087 h 367880"/>
                  <a:gd name="connsiteX4" fmla="*/ 115394 w 230787"/>
                  <a:gd name="connsiteY4" fmla="*/ 0 h 367880"/>
                  <a:gd name="connsiteX5" fmla="*/ 230788 w 230787"/>
                  <a:gd name="connsiteY5" fmla="*/ 121087 h 367880"/>
                  <a:gd name="connsiteX6" fmla="*/ 230788 w 230787"/>
                  <a:gd name="connsiteY6" fmla="*/ 246794 h 367880"/>
                  <a:gd name="connsiteX7" fmla="*/ 191408 w 230787"/>
                  <a:gd name="connsiteY7" fmla="*/ 121087 h 367880"/>
                  <a:gd name="connsiteX8" fmla="*/ 115327 w 230787"/>
                  <a:gd name="connsiteY8" fmla="*/ 38844 h 367880"/>
                  <a:gd name="connsiteX9" fmla="*/ 39246 w 230787"/>
                  <a:gd name="connsiteY9" fmla="*/ 121087 h 367880"/>
                  <a:gd name="connsiteX10" fmla="*/ 39246 w 230787"/>
                  <a:gd name="connsiteY10" fmla="*/ 246794 h 367880"/>
                  <a:gd name="connsiteX11" fmla="*/ 115327 w 230787"/>
                  <a:gd name="connsiteY11" fmla="*/ 329037 h 367880"/>
                  <a:gd name="connsiteX12" fmla="*/ 191408 w 230787"/>
                  <a:gd name="connsiteY12" fmla="*/ 246794 h 367880"/>
                  <a:gd name="connsiteX13" fmla="*/ 191408 w 230787"/>
                  <a:gd name="connsiteY13" fmla="*/ 121087 h 36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30787" h="367880">
                    <a:moveTo>
                      <a:pt x="230788" y="246794"/>
                    </a:moveTo>
                    <a:cubicBezTo>
                      <a:pt x="230788" y="321938"/>
                      <a:pt x="183840" y="367881"/>
                      <a:pt x="115394" y="367881"/>
                    </a:cubicBezTo>
                    <a:cubicBezTo>
                      <a:pt x="46948" y="367881"/>
                      <a:pt x="0" y="321938"/>
                      <a:pt x="0" y="246794"/>
                    </a:cubicBezTo>
                    <a:lnTo>
                      <a:pt x="0" y="121087"/>
                    </a:lnTo>
                    <a:cubicBezTo>
                      <a:pt x="0" y="45943"/>
                      <a:pt x="46948" y="0"/>
                      <a:pt x="115394" y="0"/>
                    </a:cubicBezTo>
                    <a:cubicBezTo>
                      <a:pt x="183840" y="0"/>
                      <a:pt x="230788" y="45943"/>
                      <a:pt x="230788" y="121087"/>
                    </a:cubicBezTo>
                    <a:lnTo>
                      <a:pt x="230788" y="246794"/>
                    </a:lnTo>
                    <a:close/>
                    <a:moveTo>
                      <a:pt x="191408" y="121087"/>
                    </a:moveTo>
                    <a:cubicBezTo>
                      <a:pt x="191408" y="67040"/>
                      <a:pt x="157721" y="38844"/>
                      <a:pt x="115327" y="38844"/>
                    </a:cubicBezTo>
                    <a:cubicBezTo>
                      <a:pt x="72933" y="38844"/>
                      <a:pt x="39246" y="66839"/>
                      <a:pt x="39246" y="121087"/>
                    </a:cubicBezTo>
                    <a:lnTo>
                      <a:pt x="39246" y="246794"/>
                    </a:lnTo>
                    <a:cubicBezTo>
                      <a:pt x="39246" y="300841"/>
                      <a:pt x="72933" y="329037"/>
                      <a:pt x="115327" y="329037"/>
                    </a:cubicBezTo>
                    <a:cubicBezTo>
                      <a:pt x="157721" y="329037"/>
                      <a:pt x="191408" y="301042"/>
                      <a:pt x="191408" y="246794"/>
                    </a:cubicBezTo>
                    <a:lnTo>
                      <a:pt x="191408" y="121087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54" name="Forma Livre: Forma 53">
                <a:extLst>
                  <a:ext uri="{FF2B5EF4-FFF2-40B4-BE49-F238E27FC236}">
                    <a16:creationId xmlns:a16="http://schemas.microsoft.com/office/drawing/2014/main" id="{C68CDFD2-C2B8-4E3D-8CB9-95D9E0193287}"/>
                  </a:ext>
                </a:extLst>
              </p:cNvPr>
              <p:cNvSpPr/>
              <p:nvPr/>
            </p:nvSpPr>
            <p:spPr>
              <a:xfrm>
                <a:off x="7841575" y="4066244"/>
                <a:ext cx="203328" cy="357633"/>
              </a:xfrm>
              <a:custGeom>
                <a:avLst/>
                <a:gdLst>
                  <a:gd name="connsiteX0" fmla="*/ 0 w 203328"/>
                  <a:gd name="connsiteY0" fmla="*/ 0 h 357633"/>
                  <a:gd name="connsiteX1" fmla="*/ 39380 w 203328"/>
                  <a:gd name="connsiteY1" fmla="*/ 0 h 357633"/>
                  <a:gd name="connsiteX2" fmla="*/ 39380 w 203328"/>
                  <a:gd name="connsiteY2" fmla="*/ 318790 h 357633"/>
                  <a:gd name="connsiteX3" fmla="*/ 203329 w 203328"/>
                  <a:gd name="connsiteY3" fmla="*/ 318790 h 357633"/>
                  <a:gd name="connsiteX4" fmla="*/ 203329 w 203328"/>
                  <a:gd name="connsiteY4" fmla="*/ 357634 h 357633"/>
                  <a:gd name="connsiteX5" fmla="*/ 0 w 203328"/>
                  <a:gd name="connsiteY5" fmla="*/ 357634 h 357633"/>
                  <a:gd name="connsiteX6" fmla="*/ 0 w 203328"/>
                  <a:gd name="connsiteY6" fmla="*/ 0 h 357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3328" h="357633">
                    <a:moveTo>
                      <a:pt x="0" y="0"/>
                    </a:moveTo>
                    <a:lnTo>
                      <a:pt x="39380" y="0"/>
                    </a:lnTo>
                    <a:lnTo>
                      <a:pt x="39380" y="318790"/>
                    </a:lnTo>
                    <a:lnTo>
                      <a:pt x="203329" y="318790"/>
                    </a:lnTo>
                    <a:lnTo>
                      <a:pt x="203329" y="357634"/>
                    </a:lnTo>
                    <a:lnTo>
                      <a:pt x="0" y="35763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</p:grpSp>
        <p:grpSp>
          <p:nvGrpSpPr>
            <p:cNvPr id="29" name="Gráfico 3">
              <a:extLst>
                <a:ext uri="{FF2B5EF4-FFF2-40B4-BE49-F238E27FC236}">
                  <a16:creationId xmlns:a16="http://schemas.microsoft.com/office/drawing/2014/main" id="{E5524653-83F3-49D5-8031-4864D357661D}"/>
                </a:ext>
              </a:extLst>
            </p:cNvPr>
            <p:cNvGrpSpPr/>
            <p:nvPr/>
          </p:nvGrpSpPr>
          <p:grpSpPr>
            <a:xfrm>
              <a:off x="4147095" y="2502567"/>
              <a:ext cx="1925329" cy="1927272"/>
              <a:chOff x="4147095" y="2502567"/>
              <a:chExt cx="1925329" cy="1927272"/>
            </a:xfrm>
            <a:solidFill>
              <a:srgbClr val="D0D3D4"/>
            </a:solidFill>
          </p:grpSpPr>
          <p:sp>
            <p:nvSpPr>
              <p:cNvPr id="35" name="Forma Livre: Forma 34">
                <a:extLst>
                  <a:ext uri="{FF2B5EF4-FFF2-40B4-BE49-F238E27FC236}">
                    <a16:creationId xmlns:a16="http://schemas.microsoft.com/office/drawing/2014/main" id="{4FCF6A45-ACFC-4B59-916C-B6821E837EB4}"/>
                  </a:ext>
                </a:extLst>
              </p:cNvPr>
              <p:cNvSpPr/>
              <p:nvPr/>
            </p:nvSpPr>
            <p:spPr>
              <a:xfrm>
                <a:off x="4625615" y="3946899"/>
                <a:ext cx="482939" cy="482939"/>
              </a:xfrm>
              <a:custGeom>
                <a:avLst/>
                <a:gdLst>
                  <a:gd name="connsiteX0" fmla="*/ 0 w 482939"/>
                  <a:gd name="connsiteY0" fmla="*/ 482940 h 482939"/>
                  <a:gd name="connsiteX1" fmla="*/ 63490 w 482939"/>
                  <a:gd name="connsiteY1" fmla="*/ 482940 h 482939"/>
                  <a:gd name="connsiteX2" fmla="*/ 482940 w 482939"/>
                  <a:gd name="connsiteY2" fmla="*/ 482940 h 482939"/>
                  <a:gd name="connsiteX3" fmla="*/ 482940 w 482939"/>
                  <a:gd name="connsiteY3" fmla="*/ 0 h 482939"/>
                  <a:gd name="connsiteX4" fmla="*/ 0 w 482939"/>
                  <a:gd name="connsiteY4" fmla="*/ 482940 h 4829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2939" h="482939">
                    <a:moveTo>
                      <a:pt x="0" y="482940"/>
                    </a:moveTo>
                    <a:lnTo>
                      <a:pt x="63490" y="482940"/>
                    </a:lnTo>
                    <a:lnTo>
                      <a:pt x="482940" y="482940"/>
                    </a:lnTo>
                    <a:lnTo>
                      <a:pt x="482940" y="0"/>
                    </a:lnTo>
                    <a:cubicBezTo>
                      <a:pt x="482873" y="266685"/>
                      <a:pt x="266618" y="482940"/>
                      <a:pt x="0" y="482940"/>
                    </a:cubicBezTo>
                    <a:close/>
                  </a:path>
                </a:pathLst>
              </a:custGeom>
              <a:solidFill>
                <a:srgbClr val="D0D3D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36" name="Forma Livre: Forma 35">
                <a:extLst>
                  <a:ext uri="{FF2B5EF4-FFF2-40B4-BE49-F238E27FC236}">
                    <a16:creationId xmlns:a16="http://schemas.microsoft.com/office/drawing/2014/main" id="{4492F65B-6C4B-44A6-B62C-30AEE6019144}"/>
                  </a:ext>
                </a:extLst>
              </p:cNvPr>
              <p:cNvSpPr/>
              <p:nvPr/>
            </p:nvSpPr>
            <p:spPr>
              <a:xfrm>
                <a:off x="4147095" y="2502567"/>
                <a:ext cx="1925329" cy="1927137"/>
              </a:xfrm>
              <a:custGeom>
                <a:avLst/>
                <a:gdLst>
                  <a:gd name="connsiteX0" fmla="*/ 0 w 1925329"/>
                  <a:gd name="connsiteY0" fmla="*/ 0 h 1927137"/>
                  <a:gd name="connsiteX1" fmla="*/ 0 w 1925329"/>
                  <a:gd name="connsiteY1" fmla="*/ 961392 h 1927137"/>
                  <a:gd name="connsiteX2" fmla="*/ 478520 w 1925329"/>
                  <a:gd name="connsiteY2" fmla="*/ 961392 h 1927137"/>
                  <a:gd name="connsiteX3" fmla="*/ 552123 w 1925329"/>
                  <a:gd name="connsiteY3" fmla="*/ 966884 h 1927137"/>
                  <a:gd name="connsiteX4" fmla="*/ 687943 w 1925329"/>
                  <a:gd name="connsiteY4" fmla="*/ 1008876 h 1927137"/>
                  <a:gd name="connsiteX5" fmla="*/ 728863 w 1925329"/>
                  <a:gd name="connsiteY5" fmla="*/ 1031245 h 1927137"/>
                  <a:gd name="connsiteX6" fmla="*/ 785589 w 1925329"/>
                  <a:gd name="connsiteY6" fmla="*/ 1071696 h 1927137"/>
                  <a:gd name="connsiteX7" fmla="*/ 878815 w 1925329"/>
                  <a:gd name="connsiteY7" fmla="*/ 1174366 h 1927137"/>
                  <a:gd name="connsiteX8" fmla="*/ 902925 w 1925329"/>
                  <a:gd name="connsiteY8" fmla="*/ 1214281 h 1927137"/>
                  <a:gd name="connsiteX9" fmla="*/ 923285 w 1925329"/>
                  <a:gd name="connsiteY9" fmla="*/ 1256474 h 1927137"/>
                  <a:gd name="connsiteX10" fmla="*/ 945989 w 1925329"/>
                  <a:gd name="connsiteY10" fmla="*/ 1323648 h 1927137"/>
                  <a:gd name="connsiteX11" fmla="*/ 961259 w 1925329"/>
                  <a:gd name="connsiteY11" fmla="*/ 1444399 h 1927137"/>
                  <a:gd name="connsiteX12" fmla="*/ 961259 w 1925329"/>
                  <a:gd name="connsiteY12" fmla="*/ 1141750 h 1927137"/>
                  <a:gd name="connsiteX13" fmla="*/ 1261765 w 1925329"/>
                  <a:gd name="connsiteY13" fmla="*/ 1141750 h 1927137"/>
                  <a:gd name="connsiteX14" fmla="*/ 1261765 w 1925329"/>
                  <a:gd name="connsiteY14" fmla="*/ 1927138 h 1927137"/>
                  <a:gd name="connsiteX15" fmla="*/ 1925330 w 1925329"/>
                  <a:gd name="connsiteY15" fmla="*/ 1927138 h 1927137"/>
                  <a:gd name="connsiteX16" fmla="*/ 1925330 w 1925329"/>
                  <a:gd name="connsiteY16" fmla="*/ 1927138 h 1927137"/>
                  <a:gd name="connsiteX17" fmla="*/ 1925330 w 1925329"/>
                  <a:gd name="connsiteY17" fmla="*/ 0 h 1927137"/>
                  <a:gd name="connsiteX18" fmla="*/ 0 w 1925329"/>
                  <a:gd name="connsiteY18" fmla="*/ 0 h 1927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25329" h="1927137">
                    <a:moveTo>
                      <a:pt x="0" y="0"/>
                    </a:moveTo>
                    <a:lnTo>
                      <a:pt x="0" y="961392"/>
                    </a:lnTo>
                    <a:lnTo>
                      <a:pt x="478520" y="961392"/>
                    </a:lnTo>
                    <a:cubicBezTo>
                      <a:pt x="503500" y="961392"/>
                      <a:pt x="528146" y="963335"/>
                      <a:pt x="552123" y="966884"/>
                    </a:cubicBezTo>
                    <a:cubicBezTo>
                      <a:pt x="600008" y="974184"/>
                      <a:pt x="645750" y="988516"/>
                      <a:pt x="687943" y="1008876"/>
                    </a:cubicBezTo>
                    <a:cubicBezTo>
                      <a:pt x="701940" y="1015640"/>
                      <a:pt x="715804" y="1023074"/>
                      <a:pt x="728863" y="1031245"/>
                    </a:cubicBezTo>
                    <a:cubicBezTo>
                      <a:pt x="748687" y="1043300"/>
                      <a:pt x="767708" y="1056762"/>
                      <a:pt x="785589" y="1071696"/>
                    </a:cubicBezTo>
                    <a:cubicBezTo>
                      <a:pt x="821420" y="1101298"/>
                      <a:pt x="852763" y="1135856"/>
                      <a:pt x="878815" y="1174366"/>
                    </a:cubicBezTo>
                    <a:cubicBezTo>
                      <a:pt x="887522" y="1187157"/>
                      <a:pt x="895491" y="1200418"/>
                      <a:pt x="902925" y="1214281"/>
                    </a:cubicBezTo>
                    <a:cubicBezTo>
                      <a:pt x="910359" y="1227944"/>
                      <a:pt x="917124" y="1242142"/>
                      <a:pt x="923285" y="1256474"/>
                    </a:cubicBezTo>
                    <a:cubicBezTo>
                      <a:pt x="932527" y="1278106"/>
                      <a:pt x="940095" y="1300609"/>
                      <a:pt x="945989" y="1323648"/>
                    </a:cubicBezTo>
                    <a:cubicBezTo>
                      <a:pt x="955901" y="1362291"/>
                      <a:pt x="961259" y="1402742"/>
                      <a:pt x="961259" y="1444399"/>
                    </a:cubicBezTo>
                    <a:lnTo>
                      <a:pt x="961259" y="1141750"/>
                    </a:lnTo>
                    <a:lnTo>
                      <a:pt x="1261765" y="1141750"/>
                    </a:lnTo>
                    <a:lnTo>
                      <a:pt x="1261765" y="1927138"/>
                    </a:lnTo>
                    <a:lnTo>
                      <a:pt x="1925330" y="1927138"/>
                    </a:lnTo>
                    <a:lnTo>
                      <a:pt x="1925330" y="1927138"/>
                    </a:lnTo>
                    <a:lnTo>
                      <a:pt x="192533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0D3D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</p:grpSp>
        <p:sp>
          <p:nvSpPr>
            <p:cNvPr id="30" name="Forma Livre: Forma 29">
              <a:extLst>
                <a:ext uri="{FF2B5EF4-FFF2-40B4-BE49-F238E27FC236}">
                  <a16:creationId xmlns:a16="http://schemas.microsoft.com/office/drawing/2014/main" id="{F2DC03AA-2F38-47AF-B9AF-C0F3A1DFA6ED}"/>
                </a:ext>
              </a:extLst>
            </p:cNvPr>
            <p:cNvSpPr/>
            <p:nvPr/>
          </p:nvSpPr>
          <p:spPr>
            <a:xfrm>
              <a:off x="5108488" y="3644317"/>
              <a:ext cx="300506" cy="785388"/>
            </a:xfrm>
            <a:custGeom>
              <a:avLst/>
              <a:gdLst>
                <a:gd name="connsiteX0" fmla="*/ 0 w 300506"/>
                <a:gd name="connsiteY0" fmla="*/ 0 h 785388"/>
                <a:gd name="connsiteX1" fmla="*/ 300506 w 300506"/>
                <a:gd name="connsiteY1" fmla="*/ 0 h 785388"/>
                <a:gd name="connsiteX2" fmla="*/ 300506 w 300506"/>
                <a:gd name="connsiteY2" fmla="*/ 785389 h 785388"/>
                <a:gd name="connsiteX3" fmla="*/ 0 w 300506"/>
                <a:gd name="connsiteY3" fmla="*/ 785389 h 78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0506" h="785388">
                  <a:moveTo>
                    <a:pt x="0" y="0"/>
                  </a:moveTo>
                  <a:lnTo>
                    <a:pt x="300506" y="0"/>
                  </a:lnTo>
                  <a:lnTo>
                    <a:pt x="300506" y="785389"/>
                  </a:lnTo>
                  <a:lnTo>
                    <a:pt x="0" y="785389"/>
                  </a:lnTo>
                  <a:close/>
                </a:path>
              </a:pathLst>
            </a:custGeom>
            <a:solidFill>
              <a:srgbClr val="1F2A44"/>
            </a:solidFill>
            <a:ln w="66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31" name="Forma Livre: Forma 30">
              <a:extLst>
                <a:ext uri="{FF2B5EF4-FFF2-40B4-BE49-F238E27FC236}">
                  <a16:creationId xmlns:a16="http://schemas.microsoft.com/office/drawing/2014/main" id="{37E1BCD1-684C-4FEB-AAD4-241B26F42FB0}"/>
                </a:ext>
              </a:extLst>
            </p:cNvPr>
            <p:cNvSpPr/>
            <p:nvPr/>
          </p:nvSpPr>
          <p:spPr>
            <a:xfrm>
              <a:off x="4147095" y="2502299"/>
              <a:ext cx="960856" cy="961660"/>
            </a:xfrm>
            <a:custGeom>
              <a:avLst/>
              <a:gdLst>
                <a:gd name="connsiteX0" fmla="*/ 0 w 960856"/>
                <a:gd name="connsiteY0" fmla="*/ 268 h 961660"/>
                <a:gd name="connsiteX1" fmla="*/ 0 w 960856"/>
                <a:gd name="connsiteY1" fmla="*/ 961660 h 961660"/>
                <a:gd name="connsiteX2" fmla="*/ 480797 w 960856"/>
                <a:gd name="connsiteY2" fmla="*/ 961660 h 961660"/>
                <a:gd name="connsiteX3" fmla="*/ 60074 w 960856"/>
                <a:gd name="connsiteY3" fmla="*/ 540938 h 961660"/>
                <a:gd name="connsiteX4" fmla="*/ 480797 w 960856"/>
                <a:gd name="connsiteY4" fmla="*/ 119144 h 961660"/>
                <a:gd name="connsiteX5" fmla="*/ 960857 w 960856"/>
                <a:gd name="connsiteY5" fmla="*/ 119144 h 961660"/>
                <a:gd name="connsiteX6" fmla="*/ 960857 w 960856"/>
                <a:gd name="connsiteY6" fmla="*/ 0 h 961660"/>
                <a:gd name="connsiteX7" fmla="*/ 0 w 960856"/>
                <a:gd name="connsiteY7" fmla="*/ 0 h 961660"/>
                <a:gd name="connsiteX8" fmla="*/ 0 w 960856"/>
                <a:gd name="connsiteY8" fmla="*/ 268 h 961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0856" h="961660">
                  <a:moveTo>
                    <a:pt x="0" y="268"/>
                  </a:moveTo>
                  <a:lnTo>
                    <a:pt x="0" y="961660"/>
                  </a:lnTo>
                  <a:lnTo>
                    <a:pt x="480797" y="961660"/>
                  </a:lnTo>
                  <a:cubicBezTo>
                    <a:pt x="248535" y="961660"/>
                    <a:pt x="60074" y="773400"/>
                    <a:pt x="60074" y="540938"/>
                  </a:cubicBezTo>
                  <a:cubicBezTo>
                    <a:pt x="60074" y="308476"/>
                    <a:pt x="248335" y="119144"/>
                    <a:pt x="480797" y="119144"/>
                  </a:cubicBezTo>
                  <a:lnTo>
                    <a:pt x="960857" y="119144"/>
                  </a:lnTo>
                  <a:lnTo>
                    <a:pt x="960857" y="0"/>
                  </a:lnTo>
                  <a:lnTo>
                    <a:pt x="0" y="0"/>
                  </a:lnTo>
                  <a:lnTo>
                    <a:pt x="0" y="268"/>
                  </a:lnTo>
                  <a:close/>
                </a:path>
              </a:pathLst>
            </a:custGeom>
            <a:solidFill>
              <a:srgbClr val="1F2A44"/>
            </a:solidFill>
            <a:ln w="66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32" name="Forma Livre: Forma 31">
              <a:extLst>
                <a:ext uri="{FF2B5EF4-FFF2-40B4-BE49-F238E27FC236}">
                  <a16:creationId xmlns:a16="http://schemas.microsoft.com/office/drawing/2014/main" id="{548491CD-670A-4F5E-A015-4CE3CB43252D}"/>
                </a:ext>
              </a:extLst>
            </p:cNvPr>
            <p:cNvSpPr/>
            <p:nvPr/>
          </p:nvSpPr>
          <p:spPr>
            <a:xfrm>
              <a:off x="4147095" y="3463959"/>
              <a:ext cx="961459" cy="965678"/>
            </a:xfrm>
            <a:custGeom>
              <a:avLst/>
              <a:gdLst>
                <a:gd name="connsiteX0" fmla="*/ 923486 w 961459"/>
                <a:gd name="connsiteY0" fmla="*/ 295082 h 965678"/>
                <a:gd name="connsiteX1" fmla="*/ 903126 w 961459"/>
                <a:gd name="connsiteY1" fmla="*/ 252889 h 965678"/>
                <a:gd name="connsiteX2" fmla="*/ 879016 w 961459"/>
                <a:gd name="connsiteY2" fmla="*/ 212973 h 965678"/>
                <a:gd name="connsiteX3" fmla="*/ 785790 w 961459"/>
                <a:gd name="connsiteY3" fmla="*/ 110304 h 965678"/>
                <a:gd name="connsiteX4" fmla="*/ 729064 w 961459"/>
                <a:gd name="connsiteY4" fmla="*/ 69853 h 965678"/>
                <a:gd name="connsiteX5" fmla="*/ 688144 w 961459"/>
                <a:gd name="connsiteY5" fmla="*/ 47484 h 965678"/>
                <a:gd name="connsiteX6" fmla="*/ 552324 w 961459"/>
                <a:gd name="connsiteY6" fmla="*/ 5492 h 965678"/>
                <a:gd name="connsiteX7" fmla="*/ 478721 w 961459"/>
                <a:gd name="connsiteY7" fmla="*/ 0 h 965678"/>
                <a:gd name="connsiteX8" fmla="*/ 0 w 961459"/>
                <a:gd name="connsiteY8" fmla="*/ 0 h 965678"/>
                <a:gd name="connsiteX9" fmla="*/ 0 w 961459"/>
                <a:gd name="connsiteY9" fmla="*/ 965679 h 965678"/>
                <a:gd name="connsiteX10" fmla="*/ 478520 w 961459"/>
                <a:gd name="connsiteY10" fmla="*/ 965679 h 965678"/>
                <a:gd name="connsiteX11" fmla="*/ 961459 w 961459"/>
                <a:gd name="connsiteY11" fmla="*/ 482739 h 965678"/>
                <a:gd name="connsiteX12" fmla="*/ 946190 w 961459"/>
                <a:gd name="connsiteY12" fmla="*/ 361988 h 965678"/>
                <a:gd name="connsiteX13" fmla="*/ 923486 w 961459"/>
                <a:gd name="connsiteY13" fmla="*/ 295082 h 965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61459" h="965678">
                  <a:moveTo>
                    <a:pt x="923486" y="295082"/>
                  </a:moveTo>
                  <a:cubicBezTo>
                    <a:pt x="917458" y="280750"/>
                    <a:pt x="910560" y="266552"/>
                    <a:pt x="903126" y="252889"/>
                  </a:cubicBezTo>
                  <a:cubicBezTo>
                    <a:pt x="895692" y="239227"/>
                    <a:pt x="887723" y="225966"/>
                    <a:pt x="879016" y="212973"/>
                  </a:cubicBezTo>
                  <a:cubicBezTo>
                    <a:pt x="852964" y="174531"/>
                    <a:pt x="821554" y="139906"/>
                    <a:pt x="785790" y="110304"/>
                  </a:cubicBezTo>
                  <a:cubicBezTo>
                    <a:pt x="767909" y="95570"/>
                    <a:pt x="748888" y="82109"/>
                    <a:pt x="729064" y="69853"/>
                  </a:cubicBezTo>
                  <a:cubicBezTo>
                    <a:pt x="715737" y="61883"/>
                    <a:pt x="702141" y="54449"/>
                    <a:pt x="688144" y="47484"/>
                  </a:cubicBezTo>
                  <a:cubicBezTo>
                    <a:pt x="645951" y="27124"/>
                    <a:pt x="600209" y="12725"/>
                    <a:pt x="552324" y="5492"/>
                  </a:cubicBezTo>
                  <a:cubicBezTo>
                    <a:pt x="528414" y="1741"/>
                    <a:pt x="503768" y="0"/>
                    <a:pt x="478721" y="0"/>
                  </a:cubicBezTo>
                  <a:lnTo>
                    <a:pt x="0" y="0"/>
                  </a:lnTo>
                  <a:lnTo>
                    <a:pt x="0" y="965679"/>
                  </a:lnTo>
                  <a:lnTo>
                    <a:pt x="478520" y="965679"/>
                  </a:lnTo>
                  <a:cubicBezTo>
                    <a:pt x="745138" y="965679"/>
                    <a:pt x="961459" y="749558"/>
                    <a:pt x="961459" y="482739"/>
                  </a:cubicBezTo>
                  <a:cubicBezTo>
                    <a:pt x="961459" y="441082"/>
                    <a:pt x="956169" y="400630"/>
                    <a:pt x="946190" y="361988"/>
                  </a:cubicBezTo>
                  <a:cubicBezTo>
                    <a:pt x="940162" y="339217"/>
                    <a:pt x="932527" y="316714"/>
                    <a:pt x="923486" y="295082"/>
                  </a:cubicBezTo>
                  <a:close/>
                </a:path>
              </a:pathLst>
            </a:custGeom>
            <a:solidFill>
              <a:srgbClr val="63B1BC"/>
            </a:solidFill>
            <a:ln w="66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33" name="Forma Livre: Forma 32">
              <a:extLst>
                <a:ext uri="{FF2B5EF4-FFF2-40B4-BE49-F238E27FC236}">
                  <a16:creationId xmlns:a16="http://schemas.microsoft.com/office/drawing/2014/main" id="{903F241F-4902-4E71-B77C-504826DB752D}"/>
                </a:ext>
              </a:extLst>
            </p:cNvPr>
            <p:cNvSpPr/>
            <p:nvPr/>
          </p:nvSpPr>
          <p:spPr>
            <a:xfrm>
              <a:off x="5107952" y="2502567"/>
              <a:ext cx="964607" cy="961392"/>
            </a:xfrm>
            <a:custGeom>
              <a:avLst/>
              <a:gdLst>
                <a:gd name="connsiteX0" fmla="*/ 480462 w 964607"/>
                <a:gd name="connsiteY0" fmla="*/ 119144 h 961392"/>
                <a:gd name="connsiteX1" fmla="*/ 901854 w 964607"/>
                <a:gd name="connsiteY1" fmla="*/ 540536 h 961392"/>
                <a:gd name="connsiteX2" fmla="*/ 499214 w 964607"/>
                <a:gd name="connsiteY2" fmla="*/ 961392 h 961392"/>
                <a:gd name="connsiteX3" fmla="*/ 964607 w 964607"/>
                <a:gd name="connsiteY3" fmla="*/ 961392 h 961392"/>
                <a:gd name="connsiteX4" fmla="*/ 964607 w 964607"/>
                <a:gd name="connsiteY4" fmla="*/ 0 h 961392"/>
                <a:gd name="connsiteX5" fmla="*/ 0 w 964607"/>
                <a:gd name="connsiteY5" fmla="*/ 0 h 961392"/>
                <a:gd name="connsiteX6" fmla="*/ 0 w 964607"/>
                <a:gd name="connsiteY6" fmla="*/ 119144 h 961392"/>
                <a:gd name="connsiteX7" fmla="*/ 480462 w 964607"/>
                <a:gd name="connsiteY7" fmla="*/ 119144 h 961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64607" h="961392">
                  <a:moveTo>
                    <a:pt x="480462" y="119144"/>
                  </a:moveTo>
                  <a:cubicBezTo>
                    <a:pt x="713259" y="119144"/>
                    <a:pt x="901854" y="307806"/>
                    <a:pt x="901854" y="540536"/>
                  </a:cubicBezTo>
                  <a:cubicBezTo>
                    <a:pt x="901854" y="766904"/>
                    <a:pt x="723305" y="951682"/>
                    <a:pt x="499214" y="961392"/>
                  </a:cubicBezTo>
                  <a:lnTo>
                    <a:pt x="964607" y="961392"/>
                  </a:lnTo>
                  <a:lnTo>
                    <a:pt x="964607" y="0"/>
                  </a:lnTo>
                  <a:lnTo>
                    <a:pt x="0" y="0"/>
                  </a:lnTo>
                  <a:lnTo>
                    <a:pt x="0" y="119144"/>
                  </a:lnTo>
                  <a:lnTo>
                    <a:pt x="480462" y="119144"/>
                  </a:lnTo>
                  <a:close/>
                </a:path>
              </a:pathLst>
            </a:custGeom>
            <a:solidFill>
              <a:srgbClr val="63B1BC"/>
            </a:solidFill>
            <a:ln w="66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34" name="Forma Livre: Forma 33">
              <a:extLst>
                <a:ext uri="{FF2B5EF4-FFF2-40B4-BE49-F238E27FC236}">
                  <a16:creationId xmlns:a16="http://schemas.microsoft.com/office/drawing/2014/main" id="{CD41DC1F-96E4-4BBB-9659-65EEE7864CF9}"/>
                </a:ext>
              </a:extLst>
            </p:cNvPr>
            <p:cNvSpPr/>
            <p:nvPr/>
          </p:nvSpPr>
          <p:spPr>
            <a:xfrm>
              <a:off x="5107952" y="2621778"/>
              <a:ext cx="901853" cy="842783"/>
            </a:xfrm>
            <a:custGeom>
              <a:avLst/>
              <a:gdLst>
                <a:gd name="connsiteX0" fmla="*/ 0 w 901853"/>
                <a:gd name="connsiteY0" fmla="*/ 842784 h 842783"/>
                <a:gd name="connsiteX1" fmla="*/ 480462 w 901853"/>
                <a:gd name="connsiteY1" fmla="*/ 842784 h 842783"/>
                <a:gd name="connsiteX2" fmla="*/ 901854 w 901853"/>
                <a:gd name="connsiteY2" fmla="*/ 421392 h 842783"/>
                <a:gd name="connsiteX3" fmla="*/ 480462 w 901853"/>
                <a:gd name="connsiteY3" fmla="*/ 0 h 842783"/>
                <a:gd name="connsiteX4" fmla="*/ 0 w 901853"/>
                <a:gd name="connsiteY4" fmla="*/ 0 h 842783"/>
                <a:gd name="connsiteX5" fmla="*/ 0 w 901853"/>
                <a:gd name="connsiteY5" fmla="*/ 842784 h 842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01853" h="842783">
                  <a:moveTo>
                    <a:pt x="0" y="842784"/>
                  </a:moveTo>
                  <a:lnTo>
                    <a:pt x="480462" y="842784"/>
                  </a:lnTo>
                  <a:cubicBezTo>
                    <a:pt x="713259" y="842784"/>
                    <a:pt x="901854" y="654122"/>
                    <a:pt x="901854" y="421392"/>
                  </a:cubicBezTo>
                  <a:cubicBezTo>
                    <a:pt x="901854" y="188662"/>
                    <a:pt x="713192" y="0"/>
                    <a:pt x="480462" y="0"/>
                  </a:cubicBezTo>
                  <a:lnTo>
                    <a:pt x="0" y="0"/>
                  </a:lnTo>
                  <a:lnTo>
                    <a:pt x="0" y="842784"/>
                  </a:lnTo>
                  <a:close/>
                </a:path>
              </a:pathLst>
            </a:custGeom>
            <a:solidFill>
              <a:srgbClr val="1F2A44"/>
            </a:solidFill>
            <a:ln w="66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</p:grpSp>
      <p:sp>
        <p:nvSpPr>
          <p:cNvPr id="55" name="Espaço Reservado para Texto 16">
            <a:extLst>
              <a:ext uri="{FF2B5EF4-FFF2-40B4-BE49-F238E27FC236}">
                <a16:creationId xmlns:a16="http://schemas.microsoft.com/office/drawing/2014/main" id="{03D44D8D-BDC8-4458-A5BA-7E0F63A065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9936" y="2397404"/>
            <a:ext cx="6223081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lang="pt-BR" b="1" dirty="0">
                <a:solidFill>
                  <a:schemeClr val="accent1"/>
                </a:solidFill>
                <a:latin typeface="+mj-lt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</p:spTree>
    <p:extLst>
      <p:ext uri="{BB962C8B-B14F-4D97-AF65-F5344CB8AC3E}">
        <p14:creationId xmlns:p14="http://schemas.microsoft.com/office/powerpoint/2010/main" val="1745147269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radecimen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Texto 3">
            <a:extLst>
              <a:ext uri="{FF2B5EF4-FFF2-40B4-BE49-F238E27FC236}">
                <a16:creationId xmlns:a16="http://schemas.microsoft.com/office/drawing/2014/main" id="{B493B770-55E6-43B1-B9F4-696DF3471A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6485" y="4014935"/>
            <a:ext cx="6129571" cy="56564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308"/>
              </a:lnSpc>
              <a:buNone/>
              <a:defRPr sz="2756" b="1">
                <a:solidFill>
                  <a:schemeClr val="accent1"/>
                </a:solidFill>
              </a:defRPr>
            </a:lvl1pPr>
            <a:lvl2pPr marL="0" indent="0">
              <a:lnSpc>
                <a:spcPts val="3308"/>
              </a:lnSpc>
              <a:buFont typeface="Arial" panose="020B0604020202020204" pitchFamily="34" charset="0"/>
              <a:buNone/>
              <a:defRPr sz="2756">
                <a:solidFill>
                  <a:schemeClr val="accent1"/>
                </a:solidFill>
              </a:defRPr>
            </a:lvl2pPr>
          </a:lstStyle>
          <a:p>
            <a:pPr lvl="0"/>
            <a:r>
              <a:rPr lang="pt-BR" dirty="0"/>
              <a:t>Nome da pessoa Líder Pedagógica</a:t>
            </a:r>
          </a:p>
        </p:txBody>
      </p:sp>
      <p:sp>
        <p:nvSpPr>
          <p:cNvPr id="6" name="Espaço Reservado para Texto 6">
            <a:extLst>
              <a:ext uri="{FF2B5EF4-FFF2-40B4-BE49-F238E27FC236}">
                <a16:creationId xmlns:a16="http://schemas.microsoft.com/office/drawing/2014/main" id="{8A27DA18-7DF1-4FA0-92AA-DEE398030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485" y="4892673"/>
            <a:ext cx="6129571" cy="5207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5">
                <a:solidFill>
                  <a:schemeClr val="accent1"/>
                </a:solidFill>
              </a:defRPr>
            </a:lvl1pPr>
            <a:lvl2pPr marL="504063" indent="0">
              <a:buNone/>
              <a:defRPr/>
            </a:lvl2pPr>
          </a:lstStyle>
          <a:p>
            <a:pPr lvl="0"/>
            <a:r>
              <a:rPr lang="pt-BR" dirty="0"/>
              <a:t>E-mail de contato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3DF5246F-4A9A-49C0-A464-F0A40BCED461}"/>
              </a:ext>
            </a:extLst>
          </p:cNvPr>
          <p:cNvSpPr txBox="1"/>
          <p:nvPr userDrawn="1"/>
        </p:nvSpPr>
        <p:spPr>
          <a:xfrm>
            <a:off x="406485" y="1762680"/>
            <a:ext cx="6195964" cy="1449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0000"/>
              </a:lnSpc>
            </a:pPr>
            <a:r>
              <a:rPr lang="pt-BR" sz="5513" b="1" dirty="0">
                <a:solidFill>
                  <a:schemeClr val="accent1"/>
                </a:solidFill>
                <a:latin typeface="+mj-lt"/>
              </a:rPr>
              <a:t>Agradeço</a:t>
            </a:r>
            <a:r>
              <a:rPr lang="pt-BR" sz="4410" b="1" dirty="0">
                <a:solidFill>
                  <a:schemeClr val="accent1"/>
                </a:solidFill>
                <a:latin typeface="+mj-lt"/>
              </a:rPr>
              <a:t> </a:t>
            </a:r>
          </a:p>
          <a:p>
            <a:pPr>
              <a:lnSpc>
                <a:spcPct val="100000"/>
              </a:lnSpc>
            </a:pPr>
            <a:r>
              <a:rPr lang="pt-BR" sz="3308" b="1" spc="0" dirty="0">
                <a:solidFill>
                  <a:schemeClr val="accent1"/>
                </a:solidFill>
                <a:latin typeface="+mj-lt"/>
              </a:rPr>
              <a:t>a sua atenção!</a:t>
            </a:r>
          </a:p>
        </p:txBody>
      </p:sp>
      <p:sp>
        <p:nvSpPr>
          <p:cNvPr id="8" name="Espaço Reservado para Texto 6">
            <a:extLst>
              <a:ext uri="{FF2B5EF4-FFF2-40B4-BE49-F238E27FC236}">
                <a16:creationId xmlns:a16="http://schemas.microsoft.com/office/drawing/2014/main" id="{63FCE42D-50A4-4295-BA1C-8D9B238FBF6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6485" y="5681696"/>
            <a:ext cx="6129571" cy="5207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5">
                <a:solidFill>
                  <a:schemeClr val="accent1"/>
                </a:solidFill>
              </a:defRPr>
            </a:lvl1pPr>
            <a:lvl2pPr marL="504063" indent="0">
              <a:buNone/>
              <a:defRPr/>
            </a:lvl2pPr>
          </a:lstStyle>
          <a:p>
            <a:pPr lvl="0"/>
            <a:r>
              <a:rPr lang="pt-BR" dirty="0"/>
              <a:t>Telefone/Celular</a:t>
            </a:r>
          </a:p>
        </p:txBody>
      </p:sp>
    </p:spTree>
    <p:extLst>
      <p:ext uri="{BB962C8B-B14F-4D97-AF65-F5344CB8AC3E}">
        <p14:creationId xmlns:p14="http://schemas.microsoft.com/office/powerpoint/2010/main" val="144398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">
    <p:bg>
      <p:bgPr>
        <a:solidFill>
          <a:srgbClr val="F4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A5EF2F37-C3DF-432C-9422-17A32F757608}"/>
              </a:ext>
            </a:extLst>
          </p:cNvPr>
          <p:cNvSpPr txBox="1"/>
          <p:nvPr userDrawn="1"/>
        </p:nvSpPr>
        <p:spPr>
          <a:xfrm>
            <a:off x="378083" y="378064"/>
            <a:ext cx="12686784" cy="601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308" b="1" dirty="0">
                <a:solidFill>
                  <a:srgbClr val="0762C8"/>
                </a:solidFill>
              </a:rPr>
              <a:t>Identidade Visual Básica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0C189279-FD9A-4B7A-9390-2D304103E6B3}"/>
              </a:ext>
            </a:extLst>
          </p:cNvPr>
          <p:cNvSpPr txBox="1"/>
          <p:nvPr userDrawn="1"/>
        </p:nvSpPr>
        <p:spPr>
          <a:xfrm>
            <a:off x="285346" y="1816577"/>
            <a:ext cx="4158383" cy="431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205" b="1" dirty="0"/>
              <a:t>Paleta de cores</a:t>
            </a: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F95D5862-3EF1-4672-8D14-7BDFF86D303A}"/>
              </a:ext>
            </a:extLst>
          </p:cNvPr>
          <p:cNvSpPr/>
          <p:nvPr userDrawn="1"/>
        </p:nvSpPr>
        <p:spPr>
          <a:xfrm>
            <a:off x="378083" y="2796553"/>
            <a:ext cx="725253" cy="725215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15"/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35A3DE3B-5A7E-41D1-AC9C-704CADEB16FB}"/>
              </a:ext>
            </a:extLst>
          </p:cNvPr>
          <p:cNvSpPr txBox="1"/>
          <p:nvPr userDrawn="1"/>
        </p:nvSpPr>
        <p:spPr>
          <a:xfrm>
            <a:off x="1388683" y="2853756"/>
            <a:ext cx="1866371" cy="6014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54" b="1" i="0" u="none" strike="noStrike" baseline="0" dirty="0">
                <a:solidFill>
                  <a:srgbClr val="1F2A44"/>
                </a:solidFill>
                <a:latin typeface="+mn-lt"/>
              </a:rPr>
              <a:t>HEX</a:t>
            </a:r>
            <a:r>
              <a:rPr lang="pt-BR" sz="1654" b="0" i="0" u="none" strike="noStrike" baseline="0" dirty="0">
                <a:solidFill>
                  <a:srgbClr val="1F2A44"/>
                </a:solidFill>
                <a:latin typeface="+mn-lt"/>
              </a:rPr>
              <a:t> #63B1BC</a:t>
            </a:r>
          </a:p>
          <a:p>
            <a:r>
              <a:rPr lang="pt-BR" sz="1654" b="1" i="0" u="none" strike="noStrike" baseline="0" dirty="0">
                <a:solidFill>
                  <a:srgbClr val="1F2A44"/>
                </a:solidFill>
                <a:latin typeface="+mn-lt"/>
              </a:rPr>
              <a:t>RGB</a:t>
            </a:r>
            <a:r>
              <a:rPr lang="pt-BR" sz="1654" b="0" i="0" u="none" strike="noStrike" baseline="0" dirty="0">
                <a:solidFill>
                  <a:srgbClr val="1F2A44"/>
                </a:solidFill>
                <a:latin typeface="+mn-lt"/>
              </a:rPr>
              <a:t> 99 177 188</a:t>
            </a:r>
            <a:endParaRPr lang="pt-BR" sz="1654" dirty="0">
              <a:latin typeface="+mn-lt"/>
            </a:endParaRP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195A106A-FB7E-4C62-B3E3-37DDB8E824BE}"/>
              </a:ext>
            </a:extLst>
          </p:cNvPr>
          <p:cNvSpPr/>
          <p:nvPr userDrawn="1"/>
        </p:nvSpPr>
        <p:spPr>
          <a:xfrm>
            <a:off x="406617" y="3958803"/>
            <a:ext cx="725253" cy="725215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15"/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5EE6FADB-AE54-4131-8A04-9141995D9D9D}"/>
              </a:ext>
            </a:extLst>
          </p:cNvPr>
          <p:cNvSpPr txBox="1"/>
          <p:nvPr userDrawn="1"/>
        </p:nvSpPr>
        <p:spPr>
          <a:xfrm>
            <a:off x="1417217" y="4016007"/>
            <a:ext cx="1721585" cy="6014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54" b="1" i="0" u="none" strike="noStrike" baseline="0" dirty="0">
                <a:solidFill>
                  <a:srgbClr val="1F2A44"/>
                </a:solidFill>
                <a:latin typeface="+mn-lt"/>
              </a:rPr>
              <a:t>HEX</a:t>
            </a:r>
            <a:r>
              <a:rPr lang="pt-BR" sz="1654" b="0" i="0" u="none" strike="noStrike" baseline="0" dirty="0">
                <a:solidFill>
                  <a:srgbClr val="1F2A44"/>
                </a:solidFill>
                <a:latin typeface="+mn-lt"/>
              </a:rPr>
              <a:t> #1F2A44</a:t>
            </a:r>
          </a:p>
          <a:p>
            <a:r>
              <a:rPr lang="pt-BR" sz="1654" b="1" i="0" u="none" strike="noStrike" baseline="0" dirty="0">
                <a:solidFill>
                  <a:srgbClr val="1F2A44"/>
                </a:solidFill>
                <a:latin typeface="+mn-lt"/>
              </a:rPr>
              <a:t>RGB</a:t>
            </a:r>
            <a:r>
              <a:rPr lang="pt-BR" sz="1654" b="0" i="0" u="none" strike="noStrike" baseline="0" dirty="0">
                <a:solidFill>
                  <a:srgbClr val="1F2A44"/>
                </a:solidFill>
                <a:latin typeface="+mn-lt"/>
              </a:rPr>
              <a:t> 31 42 68</a:t>
            </a:r>
            <a:endParaRPr lang="pt-BR" sz="1654" dirty="0">
              <a:latin typeface="+mn-lt"/>
            </a:endParaRPr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08F867A-CCE4-4D53-906F-9BAA42DC47F3}"/>
              </a:ext>
            </a:extLst>
          </p:cNvPr>
          <p:cNvSpPr/>
          <p:nvPr userDrawn="1"/>
        </p:nvSpPr>
        <p:spPr>
          <a:xfrm>
            <a:off x="416128" y="5108448"/>
            <a:ext cx="725253" cy="725215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15"/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CCCB1CD6-14AA-42DE-9288-FA9FAF43E139}"/>
              </a:ext>
            </a:extLst>
          </p:cNvPr>
          <p:cNvSpPr txBox="1"/>
          <p:nvPr userDrawn="1"/>
        </p:nvSpPr>
        <p:spPr>
          <a:xfrm>
            <a:off x="1426728" y="5165651"/>
            <a:ext cx="1968355" cy="6014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54" b="1" i="0" u="none" strike="noStrike" baseline="0" dirty="0">
                <a:solidFill>
                  <a:srgbClr val="1F2A44"/>
                </a:solidFill>
                <a:latin typeface="+mn-lt"/>
              </a:rPr>
              <a:t>HEX</a:t>
            </a:r>
            <a:r>
              <a:rPr lang="pt-BR" sz="1654" b="0" i="0" u="none" strike="noStrike" baseline="0" dirty="0">
                <a:solidFill>
                  <a:srgbClr val="1F2A44"/>
                </a:solidFill>
                <a:latin typeface="+mn-lt"/>
              </a:rPr>
              <a:t> #D0D3D4</a:t>
            </a:r>
          </a:p>
          <a:p>
            <a:r>
              <a:rPr lang="pt-BR" sz="1654" b="1" i="0" u="none" strike="noStrike" baseline="0" dirty="0">
                <a:solidFill>
                  <a:srgbClr val="1F2A44"/>
                </a:solidFill>
                <a:latin typeface="+mn-lt"/>
              </a:rPr>
              <a:t>RGB</a:t>
            </a:r>
            <a:r>
              <a:rPr lang="pt-BR" sz="1654" b="0" i="0" u="none" strike="noStrike" baseline="0" dirty="0">
                <a:solidFill>
                  <a:srgbClr val="1F2A44"/>
                </a:solidFill>
                <a:latin typeface="+mn-lt"/>
              </a:rPr>
              <a:t> 208 211 211</a:t>
            </a:r>
            <a:endParaRPr lang="pt-BR" sz="1654" dirty="0">
              <a:latin typeface="+mn-lt"/>
            </a:endParaRPr>
          </a:p>
        </p:txBody>
      </p:sp>
      <p:sp>
        <p:nvSpPr>
          <p:cNvPr id="15" name="Retângulo 14">
            <a:extLst>
              <a:ext uri="{FF2B5EF4-FFF2-40B4-BE49-F238E27FC236}">
                <a16:creationId xmlns:a16="http://schemas.microsoft.com/office/drawing/2014/main" id="{78496C1E-E176-40DB-9888-DE926E6549D9}"/>
              </a:ext>
            </a:extLst>
          </p:cNvPr>
          <p:cNvSpPr/>
          <p:nvPr userDrawn="1"/>
        </p:nvSpPr>
        <p:spPr>
          <a:xfrm>
            <a:off x="416128" y="6258093"/>
            <a:ext cx="725253" cy="725215"/>
          </a:xfrm>
          <a:prstGeom prst="rect">
            <a:avLst/>
          </a:prstGeom>
          <a:solidFill>
            <a:schemeClr val="accent6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15"/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7B1AFCDC-9DEE-4DA0-985A-AE83E46DA1CB}"/>
              </a:ext>
            </a:extLst>
          </p:cNvPr>
          <p:cNvSpPr txBox="1"/>
          <p:nvPr userDrawn="1"/>
        </p:nvSpPr>
        <p:spPr>
          <a:xfrm>
            <a:off x="1426729" y="6315297"/>
            <a:ext cx="1721585" cy="6014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54" b="1" i="0" u="none" strike="noStrike" baseline="0" dirty="0">
                <a:solidFill>
                  <a:srgbClr val="1F2A44"/>
                </a:solidFill>
                <a:latin typeface="+mn-lt"/>
              </a:rPr>
              <a:t>HEX</a:t>
            </a:r>
            <a:r>
              <a:rPr lang="pt-BR" sz="1654" b="0" i="0" u="none" strike="noStrike" baseline="0" dirty="0">
                <a:solidFill>
                  <a:srgbClr val="1F2A44"/>
                </a:solidFill>
                <a:latin typeface="+mn-lt"/>
              </a:rPr>
              <a:t> #0762C8</a:t>
            </a:r>
          </a:p>
          <a:p>
            <a:r>
              <a:rPr lang="pt-BR" sz="1654" b="1" i="0" u="none" strike="noStrike" baseline="0" dirty="0">
                <a:solidFill>
                  <a:srgbClr val="1F2A44"/>
                </a:solidFill>
                <a:latin typeface="+mn-lt"/>
              </a:rPr>
              <a:t>RGB</a:t>
            </a:r>
            <a:r>
              <a:rPr lang="pt-BR" sz="1654" b="0" i="0" u="none" strike="noStrike" baseline="0" dirty="0">
                <a:solidFill>
                  <a:srgbClr val="1F2A44"/>
                </a:solidFill>
                <a:latin typeface="+mn-lt"/>
              </a:rPr>
              <a:t> 7 98 200</a:t>
            </a:r>
            <a:endParaRPr lang="pt-BR" sz="1654" dirty="0">
              <a:latin typeface="+mn-lt"/>
            </a:endParaRPr>
          </a:p>
        </p:txBody>
      </p:sp>
      <p:sp>
        <p:nvSpPr>
          <p:cNvPr id="26" name="Retângulo 25">
            <a:extLst>
              <a:ext uri="{FF2B5EF4-FFF2-40B4-BE49-F238E27FC236}">
                <a16:creationId xmlns:a16="http://schemas.microsoft.com/office/drawing/2014/main" id="{DD27E8A5-2332-4440-86D5-5AB436593F1D}"/>
              </a:ext>
            </a:extLst>
          </p:cNvPr>
          <p:cNvSpPr/>
          <p:nvPr userDrawn="1"/>
        </p:nvSpPr>
        <p:spPr>
          <a:xfrm>
            <a:off x="3699452" y="2796553"/>
            <a:ext cx="725253" cy="725215"/>
          </a:xfrm>
          <a:prstGeom prst="rect">
            <a:avLst/>
          </a:prstGeom>
          <a:solidFill>
            <a:schemeClr val="accent4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15"/>
          </a:p>
        </p:txBody>
      </p:sp>
      <p:sp>
        <p:nvSpPr>
          <p:cNvPr id="27" name="CaixaDeTexto 26">
            <a:extLst>
              <a:ext uri="{FF2B5EF4-FFF2-40B4-BE49-F238E27FC236}">
                <a16:creationId xmlns:a16="http://schemas.microsoft.com/office/drawing/2014/main" id="{D25F11C5-5F7D-4713-88CB-679A20F340D0}"/>
              </a:ext>
            </a:extLst>
          </p:cNvPr>
          <p:cNvSpPr txBox="1"/>
          <p:nvPr userDrawn="1"/>
        </p:nvSpPr>
        <p:spPr>
          <a:xfrm>
            <a:off x="4691029" y="2853757"/>
            <a:ext cx="1913929" cy="6014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54" b="1" i="0" u="none" strike="noStrike" baseline="0" dirty="0">
                <a:solidFill>
                  <a:srgbClr val="1F2A44"/>
                </a:solidFill>
                <a:latin typeface="+mn-lt"/>
              </a:rPr>
              <a:t>HEX</a:t>
            </a:r>
            <a:r>
              <a:rPr lang="pt-BR" sz="1654" b="0" i="0" u="none" strike="noStrike" baseline="0" dirty="0">
                <a:solidFill>
                  <a:srgbClr val="1F2A44"/>
                </a:solidFill>
                <a:latin typeface="+mn-lt"/>
              </a:rPr>
              <a:t> #ED145B</a:t>
            </a:r>
          </a:p>
          <a:p>
            <a:r>
              <a:rPr lang="pt-BR" sz="1654" b="1" i="0" u="none" strike="noStrike" baseline="0" dirty="0">
                <a:solidFill>
                  <a:srgbClr val="1F2A44"/>
                </a:solidFill>
                <a:latin typeface="+mn-lt"/>
              </a:rPr>
              <a:t>RGB</a:t>
            </a:r>
            <a:r>
              <a:rPr lang="pt-BR" sz="1654" b="0" i="0" u="none" strike="noStrike" baseline="0" dirty="0">
                <a:solidFill>
                  <a:srgbClr val="1F2A44"/>
                </a:solidFill>
                <a:latin typeface="+mn-lt"/>
              </a:rPr>
              <a:t> 237 20 91</a:t>
            </a:r>
            <a:endParaRPr lang="pt-BR" sz="1654" dirty="0">
              <a:latin typeface="+mn-lt"/>
            </a:endParaRPr>
          </a:p>
        </p:txBody>
      </p:sp>
      <p:sp>
        <p:nvSpPr>
          <p:cNvPr id="28" name="Retângulo 27">
            <a:extLst>
              <a:ext uri="{FF2B5EF4-FFF2-40B4-BE49-F238E27FC236}">
                <a16:creationId xmlns:a16="http://schemas.microsoft.com/office/drawing/2014/main" id="{56C4980A-A3E5-48A5-AB4A-07A82AD9B56C}"/>
              </a:ext>
            </a:extLst>
          </p:cNvPr>
          <p:cNvSpPr/>
          <p:nvPr userDrawn="1"/>
        </p:nvSpPr>
        <p:spPr>
          <a:xfrm>
            <a:off x="3699452" y="3958803"/>
            <a:ext cx="725253" cy="725215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15"/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A25C2B33-E048-40B5-B122-C60205B1DDC5}"/>
              </a:ext>
            </a:extLst>
          </p:cNvPr>
          <p:cNvSpPr txBox="1"/>
          <p:nvPr userDrawn="1"/>
        </p:nvSpPr>
        <p:spPr>
          <a:xfrm>
            <a:off x="4719564" y="4016006"/>
            <a:ext cx="1875884" cy="6014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54" b="1" i="0" u="none" strike="noStrike" baseline="0" dirty="0">
                <a:solidFill>
                  <a:srgbClr val="1F2A44"/>
                </a:solidFill>
                <a:latin typeface="+mn-lt"/>
              </a:rPr>
              <a:t>HEX</a:t>
            </a:r>
            <a:r>
              <a:rPr lang="pt-BR" sz="1654" b="0" i="0" u="none" strike="noStrike" baseline="0" dirty="0">
                <a:solidFill>
                  <a:srgbClr val="1F2A44"/>
                </a:solidFill>
                <a:latin typeface="+mn-lt"/>
              </a:rPr>
              <a:t> #EFB661</a:t>
            </a:r>
          </a:p>
          <a:p>
            <a:r>
              <a:rPr lang="pt-BR" sz="1654" b="1" i="0" u="none" strike="noStrike" baseline="0" dirty="0">
                <a:solidFill>
                  <a:srgbClr val="1F2A44"/>
                </a:solidFill>
                <a:latin typeface="+mn-lt"/>
              </a:rPr>
              <a:t>RGB</a:t>
            </a:r>
            <a:r>
              <a:rPr lang="pt-BR" sz="1654" b="0" i="0" u="none" strike="noStrike" baseline="0" dirty="0">
                <a:solidFill>
                  <a:srgbClr val="1F2A44"/>
                </a:solidFill>
                <a:latin typeface="+mn-lt"/>
              </a:rPr>
              <a:t> 239 182 97</a:t>
            </a:r>
            <a:endParaRPr lang="pt-BR" sz="1654" dirty="0">
              <a:latin typeface="+mn-lt"/>
            </a:endParaRPr>
          </a:p>
        </p:txBody>
      </p:sp>
      <p:sp>
        <p:nvSpPr>
          <p:cNvPr id="30" name="Retângulo 29">
            <a:extLst>
              <a:ext uri="{FF2B5EF4-FFF2-40B4-BE49-F238E27FC236}">
                <a16:creationId xmlns:a16="http://schemas.microsoft.com/office/drawing/2014/main" id="{3621BD66-2147-445F-B95E-D96C8E6E644E}"/>
              </a:ext>
            </a:extLst>
          </p:cNvPr>
          <p:cNvSpPr/>
          <p:nvPr userDrawn="1"/>
        </p:nvSpPr>
        <p:spPr>
          <a:xfrm>
            <a:off x="3699452" y="5108448"/>
            <a:ext cx="725253" cy="725215"/>
          </a:xfrm>
          <a:prstGeom prst="rect">
            <a:avLst/>
          </a:prstGeom>
          <a:solidFill>
            <a:srgbClr val="63666A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15"/>
          </a:p>
        </p:txBody>
      </p:sp>
      <p:sp>
        <p:nvSpPr>
          <p:cNvPr id="31" name="CaixaDeTexto 30">
            <a:extLst>
              <a:ext uri="{FF2B5EF4-FFF2-40B4-BE49-F238E27FC236}">
                <a16:creationId xmlns:a16="http://schemas.microsoft.com/office/drawing/2014/main" id="{EBF10436-21C6-4B1F-823A-07D19200D442}"/>
              </a:ext>
            </a:extLst>
          </p:cNvPr>
          <p:cNvSpPr txBox="1"/>
          <p:nvPr userDrawn="1"/>
        </p:nvSpPr>
        <p:spPr>
          <a:xfrm>
            <a:off x="4729075" y="5165651"/>
            <a:ext cx="1875884" cy="6014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54" b="1" i="0" u="none" strike="noStrike" baseline="0" dirty="0">
                <a:solidFill>
                  <a:srgbClr val="1F2A44"/>
                </a:solidFill>
                <a:latin typeface="+mn-lt"/>
              </a:rPr>
              <a:t>HEX</a:t>
            </a:r>
            <a:r>
              <a:rPr lang="pt-BR" sz="1654" b="0" i="0" u="none" strike="noStrike" baseline="0" dirty="0">
                <a:solidFill>
                  <a:srgbClr val="1F2A44"/>
                </a:solidFill>
                <a:latin typeface="+mn-lt"/>
              </a:rPr>
              <a:t> #63666A</a:t>
            </a:r>
          </a:p>
          <a:p>
            <a:r>
              <a:rPr lang="pt-BR" sz="1654" b="1" i="0" u="none" strike="noStrike" baseline="0" dirty="0">
                <a:solidFill>
                  <a:srgbClr val="1F2A44"/>
                </a:solidFill>
                <a:latin typeface="+mn-lt"/>
              </a:rPr>
              <a:t>RGB</a:t>
            </a:r>
            <a:r>
              <a:rPr lang="pt-BR" sz="1654" b="0" i="0" u="none" strike="noStrike" baseline="0" dirty="0">
                <a:solidFill>
                  <a:srgbClr val="1F2A44"/>
                </a:solidFill>
                <a:latin typeface="+mn-lt"/>
              </a:rPr>
              <a:t> 99 102 106</a:t>
            </a:r>
            <a:endParaRPr lang="pt-BR" sz="1654" dirty="0">
              <a:latin typeface="+mn-lt"/>
            </a:endParaRPr>
          </a:p>
        </p:txBody>
      </p:sp>
      <p:cxnSp>
        <p:nvCxnSpPr>
          <p:cNvPr id="43" name="Conector reto 42">
            <a:extLst>
              <a:ext uri="{FF2B5EF4-FFF2-40B4-BE49-F238E27FC236}">
                <a16:creationId xmlns:a16="http://schemas.microsoft.com/office/drawing/2014/main" id="{4816410E-D2E9-45C9-BAF3-8179306838DC}"/>
              </a:ext>
            </a:extLst>
          </p:cNvPr>
          <p:cNvCxnSpPr/>
          <p:nvPr userDrawn="1"/>
        </p:nvCxnSpPr>
        <p:spPr>
          <a:xfrm>
            <a:off x="6595447" y="1890316"/>
            <a:ext cx="0" cy="5292884"/>
          </a:xfrm>
          <a:prstGeom prst="line">
            <a:avLst/>
          </a:prstGeom>
          <a:ln w="38100">
            <a:solidFill>
              <a:srgbClr val="6366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CaixaDeTexto 24">
            <a:extLst>
              <a:ext uri="{FF2B5EF4-FFF2-40B4-BE49-F238E27FC236}">
                <a16:creationId xmlns:a16="http://schemas.microsoft.com/office/drawing/2014/main" id="{28E25A67-9179-46F0-A60F-E153A3B8D6EB}"/>
              </a:ext>
            </a:extLst>
          </p:cNvPr>
          <p:cNvSpPr txBox="1"/>
          <p:nvPr userDrawn="1"/>
        </p:nvSpPr>
        <p:spPr>
          <a:xfrm>
            <a:off x="6847502" y="1816577"/>
            <a:ext cx="4065646" cy="431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205" b="1" dirty="0"/>
              <a:t>Imagens</a:t>
            </a:r>
          </a:p>
        </p:txBody>
      </p:sp>
      <p:sp>
        <p:nvSpPr>
          <p:cNvPr id="32" name="CaixaDeTexto 31">
            <a:extLst>
              <a:ext uri="{FF2B5EF4-FFF2-40B4-BE49-F238E27FC236}">
                <a16:creationId xmlns:a16="http://schemas.microsoft.com/office/drawing/2014/main" id="{467D14B3-6013-492E-888B-1CF1C3976445}"/>
              </a:ext>
            </a:extLst>
          </p:cNvPr>
          <p:cNvSpPr txBox="1"/>
          <p:nvPr userDrawn="1"/>
        </p:nvSpPr>
        <p:spPr>
          <a:xfrm>
            <a:off x="6847503" y="2799571"/>
            <a:ext cx="6061216" cy="24679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54" i="0" dirty="0"/>
              <a:t>Evite utilizar imagens em baixa qualidade ou que contenham marca d’água. Aqui estão alguns sites de bancos de imagens gratuitos:</a:t>
            </a:r>
          </a:p>
          <a:p>
            <a:endParaRPr lang="pt-BR" sz="1654" i="0" dirty="0">
              <a:solidFill>
                <a:srgbClr val="0762C8"/>
              </a:solidFill>
            </a:endParaRPr>
          </a:p>
          <a:p>
            <a:r>
              <a:rPr lang="pt-BR" sz="1764" i="0" dirty="0">
                <a:solidFill>
                  <a:srgbClr val="0762C8"/>
                </a:solidFill>
                <a:effectLst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unsplash.com</a:t>
            </a:r>
            <a:endParaRPr lang="pt-BR" sz="1764" i="0" dirty="0">
              <a:solidFill>
                <a:srgbClr val="0762C8"/>
              </a:solidFill>
              <a:effectLst/>
            </a:endParaRPr>
          </a:p>
          <a:p>
            <a:endParaRPr lang="pt-BR" sz="1764" dirty="0">
              <a:solidFill>
                <a:srgbClr val="0762C8"/>
              </a:solidFill>
            </a:endParaRPr>
          </a:p>
          <a:p>
            <a:r>
              <a:rPr lang="pt-BR" sz="1764" i="0" dirty="0">
                <a:solidFill>
                  <a:srgbClr val="0762C8"/>
                </a:solidFill>
                <a:effectLst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visualhunt.com</a:t>
            </a:r>
            <a:endParaRPr lang="pt-BR" sz="1764" i="0" dirty="0">
              <a:solidFill>
                <a:srgbClr val="0762C8"/>
              </a:solidFill>
              <a:effectLst/>
            </a:endParaRPr>
          </a:p>
          <a:p>
            <a:endParaRPr lang="pt-BR" sz="1764" dirty="0">
              <a:solidFill>
                <a:srgbClr val="0762C8"/>
              </a:solidFill>
            </a:endParaRPr>
          </a:p>
          <a:p>
            <a:r>
              <a:rPr lang="pt-BR" sz="1764" i="0" dirty="0">
                <a:solidFill>
                  <a:srgbClr val="0762C8"/>
                </a:solidFill>
                <a:effectLst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pexels.com/pt-br/</a:t>
            </a:r>
            <a:endParaRPr lang="pt-BR" sz="1654" i="0" dirty="0"/>
          </a:p>
        </p:txBody>
      </p:sp>
    </p:spTree>
    <p:extLst>
      <p:ext uri="{BB962C8B-B14F-4D97-AF65-F5344CB8AC3E}">
        <p14:creationId xmlns:p14="http://schemas.microsoft.com/office/powerpoint/2010/main" val="428487172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D">
    <p:bg>
      <p:bgPr>
        <a:solidFill>
          <a:srgbClr val="F4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A5EF2F37-C3DF-432C-9422-17A32F757608}"/>
              </a:ext>
            </a:extLst>
          </p:cNvPr>
          <p:cNvSpPr txBox="1"/>
          <p:nvPr userDrawn="1"/>
        </p:nvSpPr>
        <p:spPr>
          <a:xfrm>
            <a:off x="378083" y="378064"/>
            <a:ext cx="12686784" cy="601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308" b="1" dirty="0">
                <a:solidFill>
                  <a:srgbClr val="0762C8"/>
                </a:solidFill>
              </a:rPr>
              <a:t>Identidade Visual Básica</a:t>
            </a:r>
          </a:p>
        </p:txBody>
      </p:sp>
      <p:sp>
        <p:nvSpPr>
          <p:cNvPr id="37" name="CaixaDeTexto 36">
            <a:extLst>
              <a:ext uri="{FF2B5EF4-FFF2-40B4-BE49-F238E27FC236}">
                <a16:creationId xmlns:a16="http://schemas.microsoft.com/office/drawing/2014/main" id="{DCC16001-BE79-4EA6-9528-124384800A86}"/>
              </a:ext>
            </a:extLst>
          </p:cNvPr>
          <p:cNvSpPr txBox="1"/>
          <p:nvPr userDrawn="1"/>
        </p:nvSpPr>
        <p:spPr>
          <a:xfrm>
            <a:off x="285346" y="1816577"/>
            <a:ext cx="4158383" cy="431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205" b="1" dirty="0"/>
              <a:t>Galeria PowerPoint</a:t>
            </a:r>
          </a:p>
        </p:txBody>
      </p:sp>
      <p:sp>
        <p:nvSpPr>
          <p:cNvPr id="45" name="CaixaDeTexto 44">
            <a:extLst>
              <a:ext uri="{FF2B5EF4-FFF2-40B4-BE49-F238E27FC236}">
                <a16:creationId xmlns:a16="http://schemas.microsoft.com/office/drawing/2014/main" id="{907215B5-BAEB-4B7F-83C7-3868DDC78031}"/>
              </a:ext>
            </a:extLst>
          </p:cNvPr>
          <p:cNvSpPr txBox="1"/>
          <p:nvPr userDrawn="1"/>
        </p:nvSpPr>
        <p:spPr>
          <a:xfrm>
            <a:off x="378083" y="2799571"/>
            <a:ext cx="6061216" cy="16196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54" dirty="0"/>
              <a:t>O PowerPoint tem sua própria galeria de imagens, ícones e ilustrações, inclusive, alguns desses itens podem ser editados</a:t>
            </a:r>
            <a:r>
              <a:rPr lang="pt-BR" sz="1654" i="0" dirty="0"/>
              <a:t>.</a:t>
            </a:r>
          </a:p>
          <a:p>
            <a:endParaRPr lang="pt-BR" sz="1654" i="0" dirty="0"/>
          </a:p>
          <a:p>
            <a:r>
              <a:rPr lang="pt-BR" sz="1654" i="0" dirty="0"/>
              <a:t>Para utilizá-los basta ir na aba INSERIR e clicar em ÍCONES, a galeria será aberta e você poderá fazer uma busca rápida.</a:t>
            </a:r>
          </a:p>
          <a:p>
            <a:endParaRPr lang="pt-BR" sz="1654" i="0" dirty="0"/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657B3EAB-57D5-4F0A-A9B9-9A625434C3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62531" y="4511873"/>
            <a:ext cx="4092320" cy="2671327"/>
          </a:xfrm>
          <a:prstGeom prst="rect">
            <a:avLst/>
          </a:prstGeom>
        </p:spPr>
      </p:pic>
      <p:cxnSp>
        <p:nvCxnSpPr>
          <p:cNvPr id="10" name="Conector reto 9">
            <a:extLst>
              <a:ext uri="{FF2B5EF4-FFF2-40B4-BE49-F238E27FC236}">
                <a16:creationId xmlns:a16="http://schemas.microsoft.com/office/drawing/2014/main" id="{C690E6C2-3EB5-47A5-8551-E0EC21A04C7B}"/>
              </a:ext>
            </a:extLst>
          </p:cNvPr>
          <p:cNvCxnSpPr/>
          <p:nvPr userDrawn="1"/>
        </p:nvCxnSpPr>
        <p:spPr>
          <a:xfrm>
            <a:off x="6595447" y="1890316"/>
            <a:ext cx="0" cy="5292884"/>
          </a:xfrm>
          <a:prstGeom prst="line">
            <a:avLst/>
          </a:prstGeom>
          <a:ln w="38100">
            <a:solidFill>
              <a:srgbClr val="6366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aixaDeTexto 6">
            <a:extLst>
              <a:ext uri="{FF2B5EF4-FFF2-40B4-BE49-F238E27FC236}">
                <a16:creationId xmlns:a16="http://schemas.microsoft.com/office/drawing/2014/main" id="{2909C1D9-CBF2-4F45-A978-ED6E012197FC}"/>
              </a:ext>
            </a:extLst>
          </p:cNvPr>
          <p:cNvSpPr txBox="1"/>
          <p:nvPr userDrawn="1"/>
        </p:nvSpPr>
        <p:spPr>
          <a:xfrm>
            <a:off x="6847504" y="2799570"/>
            <a:ext cx="6061216" cy="16196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54" i="0" dirty="0"/>
              <a:t>Também é possível pesquisar imagens na internet, vá até a aba INSERIR e clique em IMAGENS, depois em IMAGENS ONLINE...</a:t>
            </a:r>
          </a:p>
          <a:p>
            <a:endParaRPr lang="pt-BR" sz="1654" i="0" dirty="0"/>
          </a:p>
          <a:p>
            <a:r>
              <a:rPr lang="pt-BR" sz="1654" i="0" dirty="0"/>
              <a:t>Uma galeria de imagens será aberta.</a:t>
            </a:r>
          </a:p>
          <a:p>
            <a:endParaRPr lang="pt-BR" sz="1654" i="0" dirty="0"/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3ECBBBD7-2D40-40A7-92C5-970A5629059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784254" y="4428393"/>
            <a:ext cx="4187715" cy="2796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984227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kg Cinz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034046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cerramen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/>
          <p:cNvSpPr/>
          <p:nvPr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100"/>
          </a:p>
        </p:txBody>
      </p:sp>
      <p:sp>
        <p:nvSpPr>
          <p:cNvPr id="5123" name="AutoShape 3"/>
          <p:cNvSpPr>
            <a:spLocks noChangeAspect="1" noChangeArrowheads="1" noTextEdit="1"/>
          </p:cNvSpPr>
          <p:nvPr/>
        </p:nvSpPr>
        <p:spPr bwMode="auto">
          <a:xfrm>
            <a:off x="217531" y="1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5" name="Freeform 5"/>
          <p:cNvSpPr>
            <a:spLocks/>
          </p:cNvSpPr>
          <p:nvPr/>
        </p:nvSpPr>
        <p:spPr bwMode="auto">
          <a:xfrm>
            <a:off x="10615062" y="1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6" name="Freeform 6"/>
          <p:cNvSpPr>
            <a:spLocks/>
          </p:cNvSpPr>
          <p:nvPr/>
        </p:nvSpPr>
        <p:spPr bwMode="auto">
          <a:xfrm>
            <a:off x="4519" y="1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7" name="Freeform 7"/>
          <p:cNvSpPr>
            <a:spLocks/>
          </p:cNvSpPr>
          <p:nvPr/>
        </p:nvSpPr>
        <p:spPr bwMode="auto">
          <a:xfrm>
            <a:off x="11646833" y="1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9" name="Freeform 9"/>
          <p:cNvSpPr>
            <a:spLocks/>
          </p:cNvSpPr>
          <p:nvPr/>
        </p:nvSpPr>
        <p:spPr bwMode="auto">
          <a:xfrm>
            <a:off x="6128756" y="5889626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30" name="Freeform 10"/>
          <p:cNvSpPr>
            <a:spLocks/>
          </p:cNvSpPr>
          <p:nvPr/>
        </p:nvSpPr>
        <p:spPr bwMode="auto">
          <a:xfrm>
            <a:off x="12351310" y="1533526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4005782" y="2397403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7082695" y="5940425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aseline="0">
                <a:solidFill>
                  <a:srgbClr val="32B9CD"/>
                </a:solidFill>
              </a:defRPr>
            </a:lvl1pPr>
            <a:lvl2pPr>
              <a:buNone/>
              <a:defRPr sz="1600">
                <a:solidFill>
                  <a:srgbClr val="32B9CD"/>
                </a:solidFill>
              </a:defRPr>
            </a:lvl2pPr>
            <a:lvl3pPr>
              <a:buNone/>
              <a:defRPr sz="1400">
                <a:solidFill>
                  <a:srgbClr val="32B9CD"/>
                </a:solidFill>
              </a:defRPr>
            </a:lvl3pPr>
            <a:lvl4pPr>
              <a:buNone/>
              <a:defRPr sz="1200">
                <a:solidFill>
                  <a:srgbClr val="32B9CD"/>
                </a:solidFill>
              </a:defRPr>
            </a:lvl4pPr>
            <a:lvl5pPr>
              <a:buNone/>
              <a:defRPr sz="1200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5257" y="6045645"/>
            <a:ext cx="3002349" cy="889932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erramen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AutoShape 3"/>
          <p:cNvSpPr>
            <a:spLocks noChangeAspect="1" noChangeArrowheads="1" noTextEdit="1"/>
          </p:cNvSpPr>
          <p:nvPr userDrawn="1"/>
        </p:nvSpPr>
        <p:spPr bwMode="auto">
          <a:xfrm>
            <a:off x="217531" y="1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5" name="Freeform 5"/>
          <p:cNvSpPr>
            <a:spLocks/>
          </p:cNvSpPr>
          <p:nvPr userDrawn="1"/>
        </p:nvSpPr>
        <p:spPr bwMode="auto">
          <a:xfrm>
            <a:off x="10615062" y="1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6" name="Freeform 6"/>
          <p:cNvSpPr>
            <a:spLocks/>
          </p:cNvSpPr>
          <p:nvPr userDrawn="1"/>
        </p:nvSpPr>
        <p:spPr bwMode="auto">
          <a:xfrm>
            <a:off x="4519" y="1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7" name="Freeform 7"/>
          <p:cNvSpPr>
            <a:spLocks/>
          </p:cNvSpPr>
          <p:nvPr userDrawn="1"/>
        </p:nvSpPr>
        <p:spPr bwMode="auto">
          <a:xfrm>
            <a:off x="11646833" y="1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9" name="Freeform 9"/>
          <p:cNvSpPr>
            <a:spLocks/>
          </p:cNvSpPr>
          <p:nvPr userDrawn="1"/>
        </p:nvSpPr>
        <p:spPr bwMode="auto">
          <a:xfrm>
            <a:off x="5675268" y="5889626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30" name="Freeform 10"/>
          <p:cNvSpPr>
            <a:spLocks/>
          </p:cNvSpPr>
          <p:nvPr userDrawn="1"/>
        </p:nvSpPr>
        <p:spPr bwMode="auto">
          <a:xfrm>
            <a:off x="12351310" y="1533526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4639443" y="2397403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6177464" y="5940425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aseline="0">
                <a:solidFill>
                  <a:srgbClr val="32B9CD"/>
                </a:solidFill>
              </a:defRPr>
            </a:lvl1pPr>
            <a:lvl2pPr>
              <a:buNone/>
              <a:defRPr sz="1600">
                <a:solidFill>
                  <a:srgbClr val="32B9CD"/>
                </a:solidFill>
              </a:defRPr>
            </a:lvl2pPr>
            <a:lvl3pPr>
              <a:buNone/>
              <a:defRPr sz="1400">
                <a:solidFill>
                  <a:srgbClr val="32B9CD"/>
                </a:solidFill>
              </a:defRPr>
            </a:lvl3pPr>
            <a:lvl4pPr>
              <a:buNone/>
              <a:defRPr sz="1200">
                <a:solidFill>
                  <a:srgbClr val="32B9CD"/>
                </a:solidFill>
              </a:defRPr>
            </a:lvl4pPr>
            <a:lvl5pPr>
              <a:buNone/>
              <a:defRPr sz="1200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1" name="Imagem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5986" y="6142225"/>
            <a:ext cx="2440941" cy="72352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V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02560612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V2 Escuro">
    <p:bg>
      <p:bgPr>
        <a:solidFill>
          <a:srgbClr val="1C25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áfico 9">
            <a:extLst>
              <a:ext uri="{FF2B5EF4-FFF2-40B4-BE49-F238E27FC236}">
                <a16:creationId xmlns:a16="http://schemas.microsoft.com/office/drawing/2014/main" id="{04024E9A-1262-48A1-A387-6005E4A2A176}"/>
              </a:ext>
            </a:extLst>
          </p:cNvPr>
          <p:cNvGrpSpPr/>
          <p:nvPr/>
        </p:nvGrpSpPr>
        <p:grpSpPr>
          <a:xfrm>
            <a:off x="0" y="0"/>
            <a:ext cx="13442950" cy="7561263"/>
            <a:chOff x="0" y="0"/>
            <a:chExt cx="12192000" cy="6858000"/>
          </a:xfrm>
        </p:grpSpPr>
        <p:sp>
          <p:nvSpPr>
            <p:cNvPr id="3" name="Forma Livre: Forma 2">
              <a:extLst>
                <a:ext uri="{FF2B5EF4-FFF2-40B4-BE49-F238E27FC236}">
                  <a16:creationId xmlns:a16="http://schemas.microsoft.com/office/drawing/2014/main" id="{E4CB4F5D-76BF-4BAA-A123-50A4EA5AE6F6}"/>
                </a:ext>
              </a:extLst>
            </p:cNvPr>
            <p:cNvSpPr/>
            <p:nvPr/>
          </p:nvSpPr>
          <p:spPr>
            <a:xfrm>
              <a:off x="0" y="0"/>
              <a:ext cx="340359" cy="1903729"/>
            </a:xfrm>
            <a:custGeom>
              <a:avLst/>
              <a:gdLst>
                <a:gd name="connsiteX0" fmla="*/ 288925 w 340359"/>
                <a:gd name="connsiteY0" fmla="*/ 0 h 1903729"/>
                <a:gd name="connsiteX1" fmla="*/ 0 w 340359"/>
                <a:gd name="connsiteY1" fmla="*/ 0 h 1903729"/>
                <a:gd name="connsiteX2" fmla="*/ 0 w 340359"/>
                <a:gd name="connsiteY2" fmla="*/ 1903730 h 1903729"/>
                <a:gd name="connsiteX3" fmla="*/ 340360 w 340359"/>
                <a:gd name="connsiteY3" fmla="*/ 544195 h 1903729"/>
                <a:gd name="connsiteX4" fmla="*/ 288925 w 340359"/>
                <a:gd name="connsiteY4" fmla="*/ 0 h 1903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0359" h="1903729">
                  <a:moveTo>
                    <a:pt x="288925" y="0"/>
                  </a:moveTo>
                  <a:lnTo>
                    <a:pt x="0" y="0"/>
                  </a:lnTo>
                  <a:lnTo>
                    <a:pt x="0" y="1903730"/>
                  </a:lnTo>
                  <a:cubicBezTo>
                    <a:pt x="217170" y="1498600"/>
                    <a:pt x="340360" y="1035685"/>
                    <a:pt x="340360" y="544195"/>
                  </a:cubicBezTo>
                  <a:cubicBezTo>
                    <a:pt x="340360" y="358140"/>
                    <a:pt x="322580" y="175895"/>
                    <a:pt x="288925" y="0"/>
                  </a:cubicBezTo>
                  <a:close/>
                </a:path>
              </a:pathLst>
            </a:custGeom>
            <a:solidFill>
              <a:srgbClr val="63B1BC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4" name="Forma Livre: Forma 3">
              <a:extLst>
                <a:ext uri="{FF2B5EF4-FFF2-40B4-BE49-F238E27FC236}">
                  <a16:creationId xmlns:a16="http://schemas.microsoft.com/office/drawing/2014/main" id="{7CAE5BB3-75AB-41BD-8B9D-0FDDD806B407}"/>
                </a:ext>
              </a:extLst>
            </p:cNvPr>
            <p:cNvSpPr/>
            <p:nvPr/>
          </p:nvSpPr>
          <p:spPr>
            <a:xfrm>
              <a:off x="6089015" y="0"/>
              <a:ext cx="4686935" cy="355600"/>
            </a:xfrm>
            <a:custGeom>
              <a:avLst/>
              <a:gdLst>
                <a:gd name="connsiteX0" fmla="*/ 0 w 4686935"/>
                <a:gd name="connsiteY0" fmla="*/ 0 h 355600"/>
                <a:gd name="connsiteX1" fmla="*/ 4686935 w 4686935"/>
                <a:gd name="connsiteY1" fmla="*/ 0 h 355600"/>
                <a:gd name="connsiteX2" fmla="*/ 4686935 w 4686935"/>
                <a:gd name="connsiteY2" fmla="*/ 355600 h 355600"/>
                <a:gd name="connsiteX3" fmla="*/ 0 w 4686935"/>
                <a:gd name="connsiteY3" fmla="*/ 355600 h 355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86935" h="355600">
                  <a:moveTo>
                    <a:pt x="0" y="0"/>
                  </a:moveTo>
                  <a:lnTo>
                    <a:pt x="4686935" y="0"/>
                  </a:lnTo>
                  <a:lnTo>
                    <a:pt x="4686935" y="355600"/>
                  </a:lnTo>
                  <a:lnTo>
                    <a:pt x="0" y="355600"/>
                  </a:lnTo>
                  <a:close/>
                </a:path>
              </a:pathLst>
            </a:custGeom>
            <a:solidFill>
              <a:schemeClr val="accent2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5" name="Forma Livre: Forma 4">
              <a:extLst>
                <a:ext uri="{FF2B5EF4-FFF2-40B4-BE49-F238E27FC236}">
                  <a16:creationId xmlns:a16="http://schemas.microsoft.com/office/drawing/2014/main" id="{AD88EE2C-D2C2-446D-87E7-98F5B90A14E5}"/>
                </a:ext>
              </a:extLst>
            </p:cNvPr>
            <p:cNvSpPr/>
            <p:nvPr/>
          </p:nvSpPr>
          <p:spPr>
            <a:xfrm>
              <a:off x="11851640" y="650875"/>
              <a:ext cx="340359" cy="2769234"/>
            </a:xfrm>
            <a:custGeom>
              <a:avLst/>
              <a:gdLst>
                <a:gd name="connsiteX0" fmla="*/ 0 w 340359"/>
                <a:gd name="connsiteY0" fmla="*/ 0 h 2769234"/>
                <a:gd name="connsiteX1" fmla="*/ 0 w 340359"/>
                <a:gd name="connsiteY1" fmla="*/ 2769235 h 2769234"/>
                <a:gd name="connsiteX2" fmla="*/ 340360 w 340359"/>
                <a:gd name="connsiteY2" fmla="*/ 2769235 h 2769234"/>
                <a:gd name="connsiteX3" fmla="*/ 340360 w 340359"/>
                <a:gd name="connsiteY3" fmla="*/ 1149350 h 2769234"/>
                <a:gd name="connsiteX4" fmla="*/ 0 w 340359"/>
                <a:gd name="connsiteY4" fmla="*/ 0 h 2769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0359" h="2769234">
                  <a:moveTo>
                    <a:pt x="0" y="0"/>
                  </a:moveTo>
                  <a:lnTo>
                    <a:pt x="0" y="2769235"/>
                  </a:lnTo>
                  <a:lnTo>
                    <a:pt x="340360" y="2769235"/>
                  </a:lnTo>
                  <a:lnTo>
                    <a:pt x="340360" y="1149350"/>
                  </a:lnTo>
                  <a:cubicBezTo>
                    <a:pt x="140970" y="809625"/>
                    <a:pt x="19685" y="417830"/>
                    <a:pt x="0" y="0"/>
                  </a:cubicBezTo>
                  <a:close/>
                </a:path>
              </a:pathLst>
            </a:custGeom>
            <a:solidFill>
              <a:srgbClr val="63B1BC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6" name="Forma Livre: Forma 5">
              <a:extLst>
                <a:ext uri="{FF2B5EF4-FFF2-40B4-BE49-F238E27FC236}">
                  <a16:creationId xmlns:a16="http://schemas.microsoft.com/office/drawing/2014/main" id="{26D1AE59-57CE-49FF-9DC8-1A3A5CB72D99}"/>
                </a:ext>
              </a:extLst>
            </p:cNvPr>
            <p:cNvSpPr/>
            <p:nvPr/>
          </p:nvSpPr>
          <p:spPr>
            <a:xfrm>
              <a:off x="11848465" y="0"/>
              <a:ext cx="343534" cy="1800225"/>
            </a:xfrm>
            <a:custGeom>
              <a:avLst/>
              <a:gdLst>
                <a:gd name="connsiteX0" fmla="*/ 343535 w 343534"/>
                <a:gd name="connsiteY0" fmla="*/ 1800225 h 1800225"/>
                <a:gd name="connsiteX1" fmla="*/ 343535 w 343534"/>
                <a:gd name="connsiteY1" fmla="*/ 0 h 1800225"/>
                <a:gd name="connsiteX2" fmla="*/ 0 w 343534"/>
                <a:gd name="connsiteY2" fmla="*/ 0 h 1800225"/>
                <a:gd name="connsiteX3" fmla="*/ 0 w 343534"/>
                <a:gd name="connsiteY3" fmla="*/ 531495 h 1800225"/>
                <a:gd name="connsiteX4" fmla="*/ 2540 w 343534"/>
                <a:gd name="connsiteY4" fmla="*/ 650875 h 1800225"/>
                <a:gd name="connsiteX5" fmla="*/ 2540 w 343534"/>
                <a:gd name="connsiteY5" fmla="*/ 643255 h 1800225"/>
                <a:gd name="connsiteX6" fmla="*/ 343535 w 343534"/>
                <a:gd name="connsiteY6" fmla="*/ 1800225 h 180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3534" h="1800225">
                  <a:moveTo>
                    <a:pt x="343535" y="1800225"/>
                  </a:moveTo>
                  <a:lnTo>
                    <a:pt x="343535" y="0"/>
                  </a:lnTo>
                  <a:lnTo>
                    <a:pt x="0" y="0"/>
                  </a:lnTo>
                  <a:lnTo>
                    <a:pt x="0" y="531495"/>
                  </a:lnTo>
                  <a:cubicBezTo>
                    <a:pt x="0" y="571500"/>
                    <a:pt x="1270" y="611505"/>
                    <a:pt x="2540" y="650875"/>
                  </a:cubicBezTo>
                  <a:lnTo>
                    <a:pt x="2540" y="643255"/>
                  </a:lnTo>
                  <a:cubicBezTo>
                    <a:pt x="21590" y="1064260"/>
                    <a:pt x="143510" y="1457960"/>
                    <a:pt x="343535" y="1800225"/>
                  </a:cubicBezTo>
                  <a:close/>
                </a:path>
              </a:pathLst>
            </a:custGeom>
            <a:solidFill>
              <a:schemeClr val="accent2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 dirty="0"/>
            </a:p>
          </p:txBody>
        </p:sp>
        <p:sp>
          <p:nvSpPr>
            <p:cNvPr id="7" name="Forma Livre: Forma 6">
              <a:extLst>
                <a:ext uri="{FF2B5EF4-FFF2-40B4-BE49-F238E27FC236}">
                  <a16:creationId xmlns:a16="http://schemas.microsoft.com/office/drawing/2014/main" id="{0368425D-9A9D-4C26-B0E8-8E0DA2D16331}"/>
                </a:ext>
              </a:extLst>
            </p:cNvPr>
            <p:cNvSpPr/>
            <p:nvPr/>
          </p:nvSpPr>
          <p:spPr>
            <a:xfrm>
              <a:off x="11851640" y="643890"/>
              <a:ext cx="340359" cy="1156334"/>
            </a:xfrm>
            <a:custGeom>
              <a:avLst/>
              <a:gdLst>
                <a:gd name="connsiteX0" fmla="*/ 340360 w 340359"/>
                <a:gd name="connsiteY0" fmla="*/ 1156335 h 1156334"/>
                <a:gd name="connsiteX1" fmla="*/ 0 w 340359"/>
                <a:gd name="connsiteY1" fmla="*/ 0 h 1156334"/>
                <a:gd name="connsiteX2" fmla="*/ 0 w 340359"/>
                <a:gd name="connsiteY2" fmla="*/ 7620 h 1156334"/>
                <a:gd name="connsiteX3" fmla="*/ 340360 w 340359"/>
                <a:gd name="connsiteY3" fmla="*/ 1156335 h 1156334"/>
                <a:gd name="connsiteX4" fmla="*/ 340360 w 340359"/>
                <a:gd name="connsiteY4" fmla="*/ 1156335 h 1156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0359" h="1156334">
                  <a:moveTo>
                    <a:pt x="340360" y="1156335"/>
                  </a:moveTo>
                  <a:cubicBezTo>
                    <a:pt x="140335" y="814070"/>
                    <a:pt x="18415" y="420370"/>
                    <a:pt x="0" y="0"/>
                  </a:cubicBezTo>
                  <a:lnTo>
                    <a:pt x="0" y="7620"/>
                  </a:lnTo>
                  <a:cubicBezTo>
                    <a:pt x="19685" y="424815"/>
                    <a:pt x="140970" y="816610"/>
                    <a:pt x="340360" y="1156335"/>
                  </a:cubicBezTo>
                  <a:lnTo>
                    <a:pt x="340360" y="1156335"/>
                  </a:lnTo>
                  <a:close/>
                </a:path>
              </a:pathLst>
            </a:custGeom>
            <a:solidFill>
              <a:srgbClr val="1F2A44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8" name="Forma Livre: Forma 7">
              <a:extLst>
                <a:ext uri="{FF2B5EF4-FFF2-40B4-BE49-F238E27FC236}">
                  <a16:creationId xmlns:a16="http://schemas.microsoft.com/office/drawing/2014/main" id="{28108017-2118-4681-94C8-669A785576FB}"/>
                </a:ext>
              </a:extLst>
            </p:cNvPr>
            <p:cNvSpPr/>
            <p:nvPr/>
          </p:nvSpPr>
          <p:spPr>
            <a:xfrm>
              <a:off x="11851640" y="4954270"/>
              <a:ext cx="340359" cy="1903729"/>
            </a:xfrm>
            <a:custGeom>
              <a:avLst/>
              <a:gdLst>
                <a:gd name="connsiteX0" fmla="*/ 51435 w 340359"/>
                <a:gd name="connsiteY0" fmla="*/ 1903730 h 1903729"/>
                <a:gd name="connsiteX1" fmla="*/ 340360 w 340359"/>
                <a:gd name="connsiteY1" fmla="*/ 1903730 h 1903729"/>
                <a:gd name="connsiteX2" fmla="*/ 340360 w 340359"/>
                <a:gd name="connsiteY2" fmla="*/ 0 h 1903729"/>
                <a:gd name="connsiteX3" fmla="*/ 0 w 340359"/>
                <a:gd name="connsiteY3" fmla="*/ 1360170 h 1903729"/>
                <a:gd name="connsiteX4" fmla="*/ 51435 w 340359"/>
                <a:gd name="connsiteY4" fmla="*/ 1903730 h 1903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0359" h="1903729">
                  <a:moveTo>
                    <a:pt x="51435" y="1903730"/>
                  </a:moveTo>
                  <a:lnTo>
                    <a:pt x="340360" y="1903730"/>
                  </a:lnTo>
                  <a:lnTo>
                    <a:pt x="340360" y="0"/>
                  </a:lnTo>
                  <a:cubicBezTo>
                    <a:pt x="123190" y="405130"/>
                    <a:pt x="0" y="868045"/>
                    <a:pt x="0" y="1360170"/>
                  </a:cubicBezTo>
                  <a:cubicBezTo>
                    <a:pt x="0" y="1545590"/>
                    <a:pt x="17780" y="1727835"/>
                    <a:pt x="51435" y="1903730"/>
                  </a:cubicBezTo>
                  <a:close/>
                </a:path>
              </a:pathLst>
            </a:custGeom>
            <a:solidFill>
              <a:srgbClr val="63B1BC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11" name="Forma Livre: Forma 10">
              <a:extLst>
                <a:ext uri="{FF2B5EF4-FFF2-40B4-BE49-F238E27FC236}">
                  <a16:creationId xmlns:a16="http://schemas.microsoft.com/office/drawing/2014/main" id="{44A1E025-DB4A-4BFA-AADA-BBFCE91CDE51}"/>
                </a:ext>
              </a:extLst>
            </p:cNvPr>
            <p:cNvSpPr/>
            <p:nvPr/>
          </p:nvSpPr>
          <p:spPr>
            <a:xfrm>
              <a:off x="1416050" y="6502400"/>
              <a:ext cx="4686935" cy="355600"/>
            </a:xfrm>
            <a:custGeom>
              <a:avLst/>
              <a:gdLst>
                <a:gd name="connsiteX0" fmla="*/ 0 w 4686935"/>
                <a:gd name="connsiteY0" fmla="*/ 0 h 355600"/>
                <a:gd name="connsiteX1" fmla="*/ 4686935 w 4686935"/>
                <a:gd name="connsiteY1" fmla="*/ 0 h 355600"/>
                <a:gd name="connsiteX2" fmla="*/ 4686935 w 4686935"/>
                <a:gd name="connsiteY2" fmla="*/ 355600 h 355600"/>
                <a:gd name="connsiteX3" fmla="*/ 0 w 4686935"/>
                <a:gd name="connsiteY3" fmla="*/ 355600 h 355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86935" h="355600">
                  <a:moveTo>
                    <a:pt x="0" y="0"/>
                  </a:moveTo>
                  <a:lnTo>
                    <a:pt x="4686935" y="0"/>
                  </a:lnTo>
                  <a:lnTo>
                    <a:pt x="4686935" y="355600"/>
                  </a:lnTo>
                  <a:lnTo>
                    <a:pt x="0" y="355600"/>
                  </a:lnTo>
                  <a:close/>
                </a:path>
              </a:pathLst>
            </a:custGeom>
            <a:solidFill>
              <a:schemeClr val="accent2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12" name="Forma Livre: Forma 11">
              <a:extLst>
                <a:ext uri="{FF2B5EF4-FFF2-40B4-BE49-F238E27FC236}">
                  <a16:creationId xmlns:a16="http://schemas.microsoft.com/office/drawing/2014/main" id="{326037A0-471C-4A9B-A856-0255C5C642F9}"/>
                </a:ext>
              </a:extLst>
            </p:cNvPr>
            <p:cNvSpPr/>
            <p:nvPr/>
          </p:nvSpPr>
          <p:spPr>
            <a:xfrm>
              <a:off x="0" y="3437890"/>
              <a:ext cx="340359" cy="2769234"/>
            </a:xfrm>
            <a:custGeom>
              <a:avLst/>
              <a:gdLst>
                <a:gd name="connsiteX0" fmla="*/ 340360 w 340359"/>
                <a:gd name="connsiteY0" fmla="*/ 2769235 h 2769234"/>
                <a:gd name="connsiteX1" fmla="*/ 340360 w 340359"/>
                <a:gd name="connsiteY1" fmla="*/ 0 h 2769234"/>
                <a:gd name="connsiteX2" fmla="*/ 0 w 340359"/>
                <a:gd name="connsiteY2" fmla="*/ 0 h 2769234"/>
                <a:gd name="connsiteX3" fmla="*/ 0 w 340359"/>
                <a:gd name="connsiteY3" fmla="*/ 1619885 h 2769234"/>
                <a:gd name="connsiteX4" fmla="*/ 340360 w 340359"/>
                <a:gd name="connsiteY4" fmla="*/ 2769235 h 2769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0359" h="2769234">
                  <a:moveTo>
                    <a:pt x="340360" y="2769235"/>
                  </a:moveTo>
                  <a:lnTo>
                    <a:pt x="340360" y="0"/>
                  </a:lnTo>
                  <a:lnTo>
                    <a:pt x="0" y="0"/>
                  </a:lnTo>
                  <a:lnTo>
                    <a:pt x="0" y="1619885"/>
                  </a:lnTo>
                  <a:cubicBezTo>
                    <a:pt x="199390" y="1959610"/>
                    <a:pt x="320675" y="2351405"/>
                    <a:pt x="340360" y="2769235"/>
                  </a:cubicBezTo>
                  <a:close/>
                </a:path>
              </a:pathLst>
            </a:custGeom>
            <a:solidFill>
              <a:srgbClr val="63B1BC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13" name="Forma Livre: Forma 12">
              <a:extLst>
                <a:ext uri="{FF2B5EF4-FFF2-40B4-BE49-F238E27FC236}">
                  <a16:creationId xmlns:a16="http://schemas.microsoft.com/office/drawing/2014/main" id="{BFB4436F-D9D5-4AAF-A798-53F32CA8FC65}"/>
                </a:ext>
              </a:extLst>
            </p:cNvPr>
            <p:cNvSpPr/>
            <p:nvPr/>
          </p:nvSpPr>
          <p:spPr>
            <a:xfrm>
              <a:off x="0" y="5057775"/>
              <a:ext cx="343534" cy="1800225"/>
            </a:xfrm>
            <a:custGeom>
              <a:avLst/>
              <a:gdLst>
                <a:gd name="connsiteX0" fmla="*/ 0 w 343534"/>
                <a:gd name="connsiteY0" fmla="*/ 0 h 1800225"/>
                <a:gd name="connsiteX1" fmla="*/ 0 w 343534"/>
                <a:gd name="connsiteY1" fmla="*/ 1800225 h 1800225"/>
                <a:gd name="connsiteX2" fmla="*/ 343535 w 343534"/>
                <a:gd name="connsiteY2" fmla="*/ 1800225 h 1800225"/>
                <a:gd name="connsiteX3" fmla="*/ 343535 w 343534"/>
                <a:gd name="connsiteY3" fmla="*/ 1268730 h 1800225"/>
                <a:gd name="connsiteX4" fmla="*/ 340995 w 343534"/>
                <a:gd name="connsiteY4" fmla="*/ 1149350 h 1800225"/>
                <a:gd name="connsiteX5" fmla="*/ 340995 w 343534"/>
                <a:gd name="connsiteY5" fmla="*/ 1156970 h 1800225"/>
                <a:gd name="connsiteX6" fmla="*/ 0 w 343534"/>
                <a:gd name="connsiteY6" fmla="*/ 0 h 180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3534" h="1800225">
                  <a:moveTo>
                    <a:pt x="0" y="0"/>
                  </a:moveTo>
                  <a:lnTo>
                    <a:pt x="0" y="1800225"/>
                  </a:lnTo>
                  <a:lnTo>
                    <a:pt x="343535" y="1800225"/>
                  </a:lnTo>
                  <a:lnTo>
                    <a:pt x="343535" y="1268730"/>
                  </a:lnTo>
                  <a:cubicBezTo>
                    <a:pt x="343535" y="1228725"/>
                    <a:pt x="342265" y="1188720"/>
                    <a:pt x="340995" y="1149350"/>
                  </a:cubicBezTo>
                  <a:lnTo>
                    <a:pt x="340995" y="1156970"/>
                  </a:lnTo>
                  <a:cubicBezTo>
                    <a:pt x="321945" y="735965"/>
                    <a:pt x="200025" y="342265"/>
                    <a:pt x="0" y="0"/>
                  </a:cubicBezTo>
                  <a:close/>
                </a:path>
              </a:pathLst>
            </a:custGeom>
            <a:solidFill>
              <a:schemeClr val="accent2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14" name="Forma Livre: Forma 13">
              <a:extLst>
                <a:ext uri="{FF2B5EF4-FFF2-40B4-BE49-F238E27FC236}">
                  <a16:creationId xmlns:a16="http://schemas.microsoft.com/office/drawing/2014/main" id="{2BC87CB6-AD7D-4CFE-82D0-139A1EC3C079}"/>
                </a:ext>
              </a:extLst>
            </p:cNvPr>
            <p:cNvSpPr/>
            <p:nvPr/>
          </p:nvSpPr>
          <p:spPr>
            <a:xfrm>
              <a:off x="0" y="5057775"/>
              <a:ext cx="340359" cy="1156970"/>
            </a:xfrm>
            <a:custGeom>
              <a:avLst/>
              <a:gdLst>
                <a:gd name="connsiteX0" fmla="*/ 340360 w 340359"/>
                <a:gd name="connsiteY0" fmla="*/ 1156970 h 1156970"/>
                <a:gd name="connsiteX1" fmla="*/ 340360 w 340359"/>
                <a:gd name="connsiteY1" fmla="*/ 1149350 h 1156970"/>
                <a:gd name="connsiteX2" fmla="*/ 0 w 340359"/>
                <a:gd name="connsiteY2" fmla="*/ 0 h 1156970"/>
                <a:gd name="connsiteX3" fmla="*/ 0 w 340359"/>
                <a:gd name="connsiteY3" fmla="*/ 635 h 1156970"/>
                <a:gd name="connsiteX4" fmla="*/ 340360 w 340359"/>
                <a:gd name="connsiteY4" fmla="*/ 1156970 h 1156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0359" h="1156970">
                  <a:moveTo>
                    <a:pt x="340360" y="1156970"/>
                  </a:moveTo>
                  <a:lnTo>
                    <a:pt x="340360" y="1149350"/>
                  </a:lnTo>
                  <a:cubicBezTo>
                    <a:pt x="320675" y="731520"/>
                    <a:pt x="199390" y="339725"/>
                    <a:pt x="0" y="0"/>
                  </a:cubicBezTo>
                  <a:lnTo>
                    <a:pt x="0" y="635"/>
                  </a:lnTo>
                  <a:cubicBezTo>
                    <a:pt x="200025" y="342265"/>
                    <a:pt x="321945" y="735965"/>
                    <a:pt x="340360" y="1156970"/>
                  </a:cubicBezTo>
                  <a:close/>
                </a:path>
              </a:pathLst>
            </a:custGeom>
            <a:solidFill>
              <a:srgbClr val="1F2A44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</p:grpSp>
      <p:grpSp>
        <p:nvGrpSpPr>
          <p:cNvPr id="10" name="Agrupar 9">
            <a:extLst>
              <a:ext uri="{FF2B5EF4-FFF2-40B4-BE49-F238E27FC236}">
                <a16:creationId xmlns:a16="http://schemas.microsoft.com/office/drawing/2014/main" id="{68D96EFF-401A-4B67-BAE7-65987E711D1E}"/>
              </a:ext>
            </a:extLst>
          </p:cNvPr>
          <p:cNvGrpSpPr/>
          <p:nvPr userDrawn="1"/>
        </p:nvGrpSpPr>
        <p:grpSpPr>
          <a:xfrm>
            <a:off x="4278677" y="2526183"/>
            <a:ext cx="4885597" cy="2508900"/>
            <a:chOff x="3880519" y="2291225"/>
            <a:chExt cx="4430962" cy="2275551"/>
          </a:xfrm>
        </p:grpSpPr>
        <p:grpSp>
          <p:nvGrpSpPr>
            <p:cNvPr id="16" name="Gráfico 3">
              <a:extLst>
                <a:ext uri="{FF2B5EF4-FFF2-40B4-BE49-F238E27FC236}">
                  <a16:creationId xmlns:a16="http://schemas.microsoft.com/office/drawing/2014/main" id="{04C8345A-C058-4CB0-B97B-30224A408C7D}"/>
                </a:ext>
              </a:extLst>
            </p:cNvPr>
            <p:cNvGrpSpPr/>
            <p:nvPr/>
          </p:nvGrpSpPr>
          <p:grpSpPr>
            <a:xfrm>
              <a:off x="6405787" y="2291225"/>
              <a:ext cx="1905694" cy="2274637"/>
              <a:chOff x="6368511" y="2428093"/>
              <a:chExt cx="1676392" cy="2000942"/>
            </a:xfrm>
            <a:solidFill>
              <a:schemeClr val="accent2"/>
            </a:solidFill>
          </p:grpSpPr>
          <p:sp>
            <p:nvSpPr>
              <p:cNvPr id="25" name="Forma Livre: Forma 24">
                <a:extLst>
                  <a:ext uri="{FF2B5EF4-FFF2-40B4-BE49-F238E27FC236}">
                    <a16:creationId xmlns:a16="http://schemas.microsoft.com/office/drawing/2014/main" id="{6C8DEC05-EDF9-4230-A3B6-398E7B0657EC}"/>
                  </a:ext>
                </a:extLst>
              </p:cNvPr>
              <p:cNvSpPr/>
              <p:nvPr/>
            </p:nvSpPr>
            <p:spPr>
              <a:xfrm>
                <a:off x="6368511" y="2502768"/>
                <a:ext cx="224090" cy="367746"/>
              </a:xfrm>
              <a:custGeom>
                <a:avLst/>
                <a:gdLst>
                  <a:gd name="connsiteX0" fmla="*/ 0 w 224090"/>
                  <a:gd name="connsiteY0" fmla="*/ 256907 h 367746"/>
                  <a:gd name="connsiteX1" fmla="*/ 40451 w 224090"/>
                  <a:gd name="connsiteY1" fmla="*/ 256907 h 367746"/>
                  <a:gd name="connsiteX2" fmla="*/ 115997 w 224090"/>
                  <a:gd name="connsiteY2" fmla="*/ 328903 h 367746"/>
                  <a:gd name="connsiteX3" fmla="*/ 184443 w 224090"/>
                  <a:gd name="connsiteY3" fmla="*/ 272177 h 367746"/>
                  <a:gd name="connsiteX4" fmla="*/ 126645 w 224090"/>
                  <a:gd name="connsiteY4" fmla="*/ 209423 h 367746"/>
                  <a:gd name="connsiteX5" fmla="*/ 81238 w 224090"/>
                  <a:gd name="connsiteY5" fmla="*/ 196632 h 367746"/>
                  <a:gd name="connsiteX6" fmla="*/ 6094 w 224090"/>
                  <a:gd name="connsiteY6" fmla="*/ 95034 h 367746"/>
                  <a:gd name="connsiteX7" fmla="*/ 111777 w 224090"/>
                  <a:gd name="connsiteY7" fmla="*/ 0 h 367746"/>
                  <a:gd name="connsiteX8" fmla="*/ 219536 w 224090"/>
                  <a:gd name="connsiteY8" fmla="*/ 95570 h 367746"/>
                  <a:gd name="connsiteX9" fmla="*/ 179085 w 224090"/>
                  <a:gd name="connsiteY9" fmla="*/ 95570 h 367746"/>
                  <a:gd name="connsiteX10" fmla="*/ 111710 w 224090"/>
                  <a:gd name="connsiteY10" fmla="*/ 38844 h 367746"/>
                  <a:gd name="connsiteX11" fmla="*/ 45742 w 224090"/>
                  <a:gd name="connsiteY11" fmla="*/ 95034 h 367746"/>
                  <a:gd name="connsiteX12" fmla="*/ 98919 w 224090"/>
                  <a:gd name="connsiteY12" fmla="*/ 158323 h 367746"/>
                  <a:gd name="connsiteX13" fmla="*/ 140777 w 224090"/>
                  <a:gd name="connsiteY13" fmla="*/ 170043 h 367746"/>
                  <a:gd name="connsiteX14" fmla="*/ 224091 w 224090"/>
                  <a:gd name="connsiteY14" fmla="*/ 272177 h 367746"/>
                  <a:gd name="connsiteX15" fmla="*/ 115796 w 224090"/>
                  <a:gd name="connsiteY15" fmla="*/ 367747 h 367746"/>
                  <a:gd name="connsiteX16" fmla="*/ 0 w 224090"/>
                  <a:gd name="connsiteY16" fmla="*/ 256907 h 367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24090" h="367746">
                    <a:moveTo>
                      <a:pt x="0" y="256907"/>
                    </a:moveTo>
                    <a:lnTo>
                      <a:pt x="40451" y="256907"/>
                    </a:lnTo>
                    <a:cubicBezTo>
                      <a:pt x="46680" y="302850"/>
                      <a:pt x="77688" y="328903"/>
                      <a:pt x="115997" y="328903"/>
                    </a:cubicBezTo>
                    <a:cubicBezTo>
                      <a:pt x="156448" y="328903"/>
                      <a:pt x="184443" y="309949"/>
                      <a:pt x="184443" y="272177"/>
                    </a:cubicBezTo>
                    <a:cubicBezTo>
                      <a:pt x="184443" y="239896"/>
                      <a:pt x="167097" y="220608"/>
                      <a:pt x="126645" y="209423"/>
                    </a:cubicBezTo>
                    <a:lnTo>
                      <a:pt x="81238" y="196632"/>
                    </a:lnTo>
                    <a:cubicBezTo>
                      <a:pt x="28062" y="181764"/>
                      <a:pt x="6094" y="138499"/>
                      <a:pt x="6094" y="95034"/>
                    </a:cubicBezTo>
                    <a:cubicBezTo>
                      <a:pt x="6094" y="33687"/>
                      <a:pt x="54650" y="0"/>
                      <a:pt x="111777" y="0"/>
                    </a:cubicBezTo>
                    <a:cubicBezTo>
                      <a:pt x="173660" y="0"/>
                      <a:pt x="211969" y="34759"/>
                      <a:pt x="219536" y="95570"/>
                    </a:cubicBezTo>
                    <a:lnTo>
                      <a:pt x="179085" y="95570"/>
                    </a:lnTo>
                    <a:cubicBezTo>
                      <a:pt x="171450" y="61347"/>
                      <a:pt x="150019" y="38844"/>
                      <a:pt x="111710" y="38844"/>
                    </a:cubicBezTo>
                    <a:cubicBezTo>
                      <a:pt x="68781" y="38844"/>
                      <a:pt x="45742" y="63825"/>
                      <a:pt x="45742" y="95034"/>
                    </a:cubicBezTo>
                    <a:cubicBezTo>
                      <a:pt x="45742" y="127650"/>
                      <a:pt x="62084" y="148210"/>
                      <a:pt x="98919" y="158323"/>
                    </a:cubicBezTo>
                    <a:lnTo>
                      <a:pt x="140777" y="170043"/>
                    </a:lnTo>
                    <a:cubicBezTo>
                      <a:pt x="191274" y="184376"/>
                      <a:pt x="224091" y="215451"/>
                      <a:pt x="224091" y="272177"/>
                    </a:cubicBezTo>
                    <a:cubicBezTo>
                      <a:pt x="224091" y="329439"/>
                      <a:pt x="187389" y="367747"/>
                      <a:pt x="115796" y="367747"/>
                    </a:cubicBezTo>
                    <a:cubicBezTo>
                      <a:pt x="51234" y="367881"/>
                      <a:pt x="5090" y="325353"/>
                      <a:pt x="0" y="256907"/>
                    </a:cubicBezTo>
                    <a:close/>
                  </a:path>
                </a:pathLst>
              </a:custGeom>
              <a:grpFill/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26" name="Forma Livre: Forma 25">
                <a:extLst>
                  <a:ext uri="{FF2B5EF4-FFF2-40B4-BE49-F238E27FC236}">
                    <a16:creationId xmlns:a16="http://schemas.microsoft.com/office/drawing/2014/main" id="{7E9BA7CA-66A5-4BE8-A25B-AB7F8D64F515}"/>
                  </a:ext>
                </a:extLst>
              </p:cNvPr>
              <p:cNvSpPr/>
              <p:nvPr/>
            </p:nvSpPr>
            <p:spPr>
              <a:xfrm>
                <a:off x="6626423" y="2428093"/>
                <a:ext cx="274721" cy="437398"/>
              </a:xfrm>
              <a:custGeom>
                <a:avLst/>
                <a:gdLst>
                  <a:gd name="connsiteX0" fmla="*/ 202324 w 274721"/>
                  <a:gd name="connsiteY0" fmla="*/ 336672 h 437398"/>
                  <a:gd name="connsiteX1" fmla="*/ 72532 w 274721"/>
                  <a:gd name="connsiteY1" fmla="*/ 336672 h 437398"/>
                  <a:gd name="connsiteX2" fmla="*/ 39915 w 274721"/>
                  <a:gd name="connsiteY2" fmla="*/ 437398 h 437398"/>
                  <a:gd name="connsiteX3" fmla="*/ 0 w 274721"/>
                  <a:gd name="connsiteY3" fmla="*/ 437398 h 437398"/>
                  <a:gd name="connsiteX4" fmla="*/ 114858 w 274721"/>
                  <a:gd name="connsiteY4" fmla="*/ 79832 h 437398"/>
                  <a:gd name="connsiteX5" fmla="*/ 159864 w 274721"/>
                  <a:gd name="connsiteY5" fmla="*/ 79832 h 437398"/>
                  <a:gd name="connsiteX6" fmla="*/ 274722 w 274721"/>
                  <a:gd name="connsiteY6" fmla="*/ 437398 h 437398"/>
                  <a:gd name="connsiteX7" fmla="*/ 234806 w 274721"/>
                  <a:gd name="connsiteY7" fmla="*/ 437398 h 437398"/>
                  <a:gd name="connsiteX8" fmla="*/ 202324 w 274721"/>
                  <a:gd name="connsiteY8" fmla="*/ 336672 h 437398"/>
                  <a:gd name="connsiteX9" fmla="*/ 156917 w 274721"/>
                  <a:gd name="connsiteY9" fmla="*/ 58333 h 437398"/>
                  <a:gd name="connsiteX10" fmla="*/ 116466 w 274721"/>
                  <a:gd name="connsiteY10" fmla="*/ 29267 h 437398"/>
                  <a:gd name="connsiteX11" fmla="*/ 61883 w 274721"/>
                  <a:gd name="connsiteY11" fmla="*/ 58333 h 437398"/>
                  <a:gd name="connsiteX12" fmla="*/ 50162 w 274721"/>
                  <a:gd name="connsiteY12" fmla="*/ 36366 h 437398"/>
                  <a:gd name="connsiteX13" fmla="*/ 118073 w 274721"/>
                  <a:gd name="connsiteY13" fmla="*/ 0 h 437398"/>
                  <a:gd name="connsiteX14" fmla="*/ 158524 w 274721"/>
                  <a:gd name="connsiteY14" fmla="*/ 29066 h 437398"/>
                  <a:gd name="connsiteX15" fmla="*/ 213107 w 274721"/>
                  <a:gd name="connsiteY15" fmla="*/ 0 h 437398"/>
                  <a:gd name="connsiteX16" fmla="*/ 224827 w 274721"/>
                  <a:gd name="connsiteY16" fmla="*/ 21967 h 437398"/>
                  <a:gd name="connsiteX17" fmla="*/ 156917 w 274721"/>
                  <a:gd name="connsiteY17" fmla="*/ 58333 h 437398"/>
                  <a:gd name="connsiteX18" fmla="*/ 137428 w 274721"/>
                  <a:gd name="connsiteY18" fmla="*/ 134414 h 437398"/>
                  <a:gd name="connsiteX19" fmla="*/ 84252 w 274721"/>
                  <a:gd name="connsiteY19" fmla="*/ 300372 h 437398"/>
                  <a:gd name="connsiteX20" fmla="*/ 190470 w 274721"/>
                  <a:gd name="connsiteY20" fmla="*/ 300372 h 437398"/>
                  <a:gd name="connsiteX21" fmla="*/ 137428 w 274721"/>
                  <a:gd name="connsiteY21" fmla="*/ 134414 h 437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74721" h="437398">
                    <a:moveTo>
                      <a:pt x="202324" y="336672"/>
                    </a:moveTo>
                    <a:lnTo>
                      <a:pt x="72532" y="336672"/>
                    </a:lnTo>
                    <a:lnTo>
                      <a:pt x="39915" y="437398"/>
                    </a:lnTo>
                    <a:lnTo>
                      <a:pt x="0" y="437398"/>
                    </a:lnTo>
                    <a:lnTo>
                      <a:pt x="114858" y="79832"/>
                    </a:lnTo>
                    <a:lnTo>
                      <a:pt x="159864" y="79832"/>
                    </a:lnTo>
                    <a:lnTo>
                      <a:pt x="274722" y="437398"/>
                    </a:lnTo>
                    <a:lnTo>
                      <a:pt x="234806" y="437398"/>
                    </a:lnTo>
                    <a:lnTo>
                      <a:pt x="202324" y="336672"/>
                    </a:lnTo>
                    <a:close/>
                    <a:moveTo>
                      <a:pt x="156917" y="58333"/>
                    </a:moveTo>
                    <a:lnTo>
                      <a:pt x="116466" y="29267"/>
                    </a:lnTo>
                    <a:lnTo>
                      <a:pt x="61883" y="58333"/>
                    </a:lnTo>
                    <a:lnTo>
                      <a:pt x="50162" y="36366"/>
                    </a:lnTo>
                    <a:lnTo>
                      <a:pt x="118073" y="0"/>
                    </a:lnTo>
                    <a:lnTo>
                      <a:pt x="158524" y="29066"/>
                    </a:lnTo>
                    <a:lnTo>
                      <a:pt x="213107" y="0"/>
                    </a:lnTo>
                    <a:lnTo>
                      <a:pt x="224827" y="21967"/>
                    </a:lnTo>
                    <a:lnTo>
                      <a:pt x="156917" y="58333"/>
                    </a:lnTo>
                    <a:close/>
                    <a:moveTo>
                      <a:pt x="137428" y="134414"/>
                    </a:moveTo>
                    <a:lnTo>
                      <a:pt x="84252" y="300372"/>
                    </a:lnTo>
                    <a:lnTo>
                      <a:pt x="190470" y="300372"/>
                    </a:lnTo>
                    <a:lnTo>
                      <a:pt x="137428" y="134414"/>
                    </a:lnTo>
                    <a:close/>
                  </a:path>
                </a:pathLst>
              </a:custGeom>
              <a:grpFill/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 dirty="0"/>
              </a:p>
            </p:txBody>
          </p:sp>
          <p:sp>
            <p:nvSpPr>
              <p:cNvPr id="27" name="Forma Livre: Forma 26">
                <a:extLst>
                  <a:ext uri="{FF2B5EF4-FFF2-40B4-BE49-F238E27FC236}">
                    <a16:creationId xmlns:a16="http://schemas.microsoft.com/office/drawing/2014/main" id="{0C0C46B1-82F8-41DF-81F5-DBAC87AACBE7}"/>
                  </a:ext>
                </a:extLst>
              </p:cNvPr>
              <p:cNvSpPr/>
              <p:nvPr/>
            </p:nvSpPr>
            <p:spPr>
              <a:xfrm>
                <a:off x="6928402" y="2502768"/>
                <a:ext cx="230787" cy="367880"/>
              </a:xfrm>
              <a:custGeom>
                <a:avLst/>
                <a:gdLst>
                  <a:gd name="connsiteX0" fmla="*/ 230788 w 230787"/>
                  <a:gd name="connsiteY0" fmla="*/ 246794 h 367880"/>
                  <a:gd name="connsiteX1" fmla="*/ 115394 w 230787"/>
                  <a:gd name="connsiteY1" fmla="*/ 367881 h 367880"/>
                  <a:gd name="connsiteX2" fmla="*/ 0 w 230787"/>
                  <a:gd name="connsiteY2" fmla="*/ 246794 h 367880"/>
                  <a:gd name="connsiteX3" fmla="*/ 0 w 230787"/>
                  <a:gd name="connsiteY3" fmla="*/ 121086 h 367880"/>
                  <a:gd name="connsiteX4" fmla="*/ 115394 w 230787"/>
                  <a:gd name="connsiteY4" fmla="*/ 0 h 367880"/>
                  <a:gd name="connsiteX5" fmla="*/ 230788 w 230787"/>
                  <a:gd name="connsiteY5" fmla="*/ 121086 h 367880"/>
                  <a:gd name="connsiteX6" fmla="*/ 230788 w 230787"/>
                  <a:gd name="connsiteY6" fmla="*/ 246794 h 367880"/>
                  <a:gd name="connsiteX7" fmla="*/ 191609 w 230787"/>
                  <a:gd name="connsiteY7" fmla="*/ 121086 h 367880"/>
                  <a:gd name="connsiteX8" fmla="*/ 115528 w 230787"/>
                  <a:gd name="connsiteY8" fmla="*/ 38844 h 367880"/>
                  <a:gd name="connsiteX9" fmla="*/ 39447 w 230787"/>
                  <a:gd name="connsiteY9" fmla="*/ 121086 h 367880"/>
                  <a:gd name="connsiteX10" fmla="*/ 39447 w 230787"/>
                  <a:gd name="connsiteY10" fmla="*/ 246794 h 367880"/>
                  <a:gd name="connsiteX11" fmla="*/ 115528 w 230787"/>
                  <a:gd name="connsiteY11" fmla="*/ 329037 h 367880"/>
                  <a:gd name="connsiteX12" fmla="*/ 191609 w 230787"/>
                  <a:gd name="connsiteY12" fmla="*/ 246794 h 367880"/>
                  <a:gd name="connsiteX13" fmla="*/ 191609 w 230787"/>
                  <a:gd name="connsiteY13" fmla="*/ 121086 h 36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30787" h="367880">
                    <a:moveTo>
                      <a:pt x="230788" y="246794"/>
                    </a:moveTo>
                    <a:cubicBezTo>
                      <a:pt x="230788" y="321937"/>
                      <a:pt x="183840" y="367881"/>
                      <a:pt x="115394" y="367881"/>
                    </a:cubicBezTo>
                    <a:cubicBezTo>
                      <a:pt x="46948" y="367881"/>
                      <a:pt x="0" y="321937"/>
                      <a:pt x="0" y="246794"/>
                    </a:cubicBezTo>
                    <a:lnTo>
                      <a:pt x="0" y="121086"/>
                    </a:lnTo>
                    <a:cubicBezTo>
                      <a:pt x="0" y="45943"/>
                      <a:pt x="46948" y="0"/>
                      <a:pt x="115394" y="0"/>
                    </a:cubicBezTo>
                    <a:cubicBezTo>
                      <a:pt x="183840" y="0"/>
                      <a:pt x="230788" y="45943"/>
                      <a:pt x="230788" y="121086"/>
                    </a:cubicBezTo>
                    <a:lnTo>
                      <a:pt x="230788" y="246794"/>
                    </a:lnTo>
                    <a:close/>
                    <a:moveTo>
                      <a:pt x="191609" y="121086"/>
                    </a:moveTo>
                    <a:cubicBezTo>
                      <a:pt x="191609" y="67039"/>
                      <a:pt x="157922" y="38844"/>
                      <a:pt x="115528" y="38844"/>
                    </a:cubicBezTo>
                    <a:cubicBezTo>
                      <a:pt x="73134" y="38844"/>
                      <a:pt x="39447" y="66839"/>
                      <a:pt x="39447" y="121086"/>
                    </a:cubicBezTo>
                    <a:lnTo>
                      <a:pt x="39447" y="246794"/>
                    </a:lnTo>
                    <a:cubicBezTo>
                      <a:pt x="39447" y="300841"/>
                      <a:pt x="73134" y="329037"/>
                      <a:pt x="115528" y="329037"/>
                    </a:cubicBezTo>
                    <a:cubicBezTo>
                      <a:pt x="157922" y="329037"/>
                      <a:pt x="191609" y="301042"/>
                      <a:pt x="191609" y="246794"/>
                    </a:cubicBezTo>
                    <a:lnTo>
                      <a:pt x="191609" y="121086"/>
                    </a:lnTo>
                    <a:close/>
                  </a:path>
                </a:pathLst>
              </a:custGeom>
              <a:grpFill/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28" name="Forma Livre: Forma 27">
                <a:extLst>
                  <a:ext uri="{FF2B5EF4-FFF2-40B4-BE49-F238E27FC236}">
                    <a16:creationId xmlns:a16="http://schemas.microsoft.com/office/drawing/2014/main" id="{0DC935D1-AD05-43A8-B1EC-1D528336902F}"/>
                  </a:ext>
                </a:extLst>
              </p:cNvPr>
              <p:cNvSpPr/>
              <p:nvPr/>
            </p:nvSpPr>
            <p:spPr>
              <a:xfrm>
                <a:off x="6380834" y="3027364"/>
                <a:ext cx="230787" cy="357567"/>
              </a:xfrm>
              <a:custGeom>
                <a:avLst/>
                <a:gdLst>
                  <a:gd name="connsiteX0" fmla="*/ 115461 w 230787"/>
                  <a:gd name="connsiteY0" fmla="*/ 218599 h 357567"/>
                  <a:gd name="connsiteX1" fmla="*/ 39380 w 230787"/>
                  <a:gd name="connsiteY1" fmla="*/ 218599 h 357567"/>
                  <a:gd name="connsiteX2" fmla="*/ 39380 w 230787"/>
                  <a:gd name="connsiteY2" fmla="*/ 357567 h 357567"/>
                  <a:gd name="connsiteX3" fmla="*/ 0 w 230787"/>
                  <a:gd name="connsiteY3" fmla="*/ 357567 h 357567"/>
                  <a:gd name="connsiteX4" fmla="*/ 0 w 230787"/>
                  <a:gd name="connsiteY4" fmla="*/ 0 h 357567"/>
                  <a:gd name="connsiteX5" fmla="*/ 115394 w 230787"/>
                  <a:gd name="connsiteY5" fmla="*/ 0 h 357567"/>
                  <a:gd name="connsiteX6" fmla="*/ 230788 w 230787"/>
                  <a:gd name="connsiteY6" fmla="*/ 109366 h 357567"/>
                  <a:gd name="connsiteX7" fmla="*/ 115461 w 230787"/>
                  <a:gd name="connsiteY7" fmla="*/ 218599 h 357567"/>
                  <a:gd name="connsiteX8" fmla="*/ 115461 w 230787"/>
                  <a:gd name="connsiteY8" fmla="*/ 38844 h 357567"/>
                  <a:gd name="connsiteX9" fmla="*/ 39380 w 230787"/>
                  <a:gd name="connsiteY9" fmla="*/ 38844 h 357567"/>
                  <a:gd name="connsiteX10" fmla="*/ 39380 w 230787"/>
                  <a:gd name="connsiteY10" fmla="*/ 179755 h 357567"/>
                  <a:gd name="connsiteX11" fmla="*/ 115461 w 230787"/>
                  <a:gd name="connsiteY11" fmla="*/ 179755 h 357567"/>
                  <a:gd name="connsiteX12" fmla="*/ 190604 w 230787"/>
                  <a:gd name="connsiteY12" fmla="*/ 109165 h 357567"/>
                  <a:gd name="connsiteX13" fmla="*/ 115461 w 230787"/>
                  <a:gd name="connsiteY13" fmla="*/ 38844 h 357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30787" h="357567">
                    <a:moveTo>
                      <a:pt x="115461" y="218599"/>
                    </a:moveTo>
                    <a:lnTo>
                      <a:pt x="39380" y="218599"/>
                    </a:lnTo>
                    <a:lnTo>
                      <a:pt x="39380" y="357567"/>
                    </a:lnTo>
                    <a:lnTo>
                      <a:pt x="0" y="357567"/>
                    </a:lnTo>
                    <a:lnTo>
                      <a:pt x="0" y="0"/>
                    </a:lnTo>
                    <a:lnTo>
                      <a:pt x="115394" y="0"/>
                    </a:lnTo>
                    <a:cubicBezTo>
                      <a:pt x="198172" y="0"/>
                      <a:pt x="230788" y="45943"/>
                      <a:pt x="230788" y="109366"/>
                    </a:cubicBezTo>
                    <a:cubicBezTo>
                      <a:pt x="230922" y="172656"/>
                      <a:pt x="198105" y="218599"/>
                      <a:pt x="115461" y="218599"/>
                    </a:cubicBezTo>
                    <a:close/>
                    <a:moveTo>
                      <a:pt x="115461" y="38844"/>
                    </a:moveTo>
                    <a:lnTo>
                      <a:pt x="39380" y="38844"/>
                    </a:lnTo>
                    <a:lnTo>
                      <a:pt x="39380" y="179755"/>
                    </a:lnTo>
                    <a:lnTo>
                      <a:pt x="115461" y="179755"/>
                    </a:lnTo>
                    <a:cubicBezTo>
                      <a:pt x="170579" y="179755"/>
                      <a:pt x="190604" y="148010"/>
                      <a:pt x="190604" y="109165"/>
                    </a:cubicBezTo>
                    <a:cubicBezTo>
                      <a:pt x="190470" y="70522"/>
                      <a:pt x="170646" y="38844"/>
                      <a:pt x="115461" y="38844"/>
                    </a:cubicBezTo>
                    <a:close/>
                  </a:path>
                </a:pathLst>
              </a:custGeom>
              <a:grpFill/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29" name="Forma Livre: Forma 28">
                <a:extLst>
                  <a:ext uri="{FF2B5EF4-FFF2-40B4-BE49-F238E27FC236}">
                    <a16:creationId xmlns:a16="http://schemas.microsoft.com/office/drawing/2014/main" id="{D56FF1B6-4AA6-4880-8ECE-EC2495B2A848}"/>
                  </a:ext>
                </a:extLst>
              </p:cNvPr>
              <p:cNvSpPr/>
              <p:nvPr/>
            </p:nvSpPr>
            <p:spPr>
              <a:xfrm>
                <a:off x="6616310" y="3027432"/>
                <a:ext cx="274721" cy="357566"/>
              </a:xfrm>
              <a:custGeom>
                <a:avLst/>
                <a:gdLst>
                  <a:gd name="connsiteX0" fmla="*/ 202325 w 274721"/>
                  <a:gd name="connsiteY0" fmla="*/ 256840 h 357566"/>
                  <a:gd name="connsiteX1" fmla="*/ 72532 w 274721"/>
                  <a:gd name="connsiteY1" fmla="*/ 256840 h 357566"/>
                  <a:gd name="connsiteX2" fmla="*/ 39916 w 274721"/>
                  <a:gd name="connsiteY2" fmla="*/ 357567 h 357566"/>
                  <a:gd name="connsiteX3" fmla="*/ 0 w 274721"/>
                  <a:gd name="connsiteY3" fmla="*/ 357567 h 357566"/>
                  <a:gd name="connsiteX4" fmla="*/ 114858 w 274721"/>
                  <a:gd name="connsiteY4" fmla="*/ 0 h 357566"/>
                  <a:gd name="connsiteX5" fmla="*/ 159864 w 274721"/>
                  <a:gd name="connsiteY5" fmla="*/ 0 h 357566"/>
                  <a:gd name="connsiteX6" fmla="*/ 274722 w 274721"/>
                  <a:gd name="connsiteY6" fmla="*/ 357567 h 357566"/>
                  <a:gd name="connsiteX7" fmla="*/ 234806 w 274721"/>
                  <a:gd name="connsiteY7" fmla="*/ 357567 h 357566"/>
                  <a:gd name="connsiteX8" fmla="*/ 202325 w 274721"/>
                  <a:gd name="connsiteY8" fmla="*/ 256840 h 357566"/>
                  <a:gd name="connsiteX9" fmla="*/ 137428 w 274721"/>
                  <a:gd name="connsiteY9" fmla="*/ 54516 h 357566"/>
                  <a:gd name="connsiteX10" fmla="*/ 84252 w 274721"/>
                  <a:gd name="connsiteY10" fmla="*/ 220474 h 357566"/>
                  <a:gd name="connsiteX11" fmla="*/ 190470 w 274721"/>
                  <a:gd name="connsiteY11" fmla="*/ 220474 h 357566"/>
                  <a:gd name="connsiteX12" fmla="*/ 137428 w 274721"/>
                  <a:gd name="connsiteY12" fmla="*/ 54516 h 357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74721" h="357566">
                    <a:moveTo>
                      <a:pt x="202325" y="256840"/>
                    </a:moveTo>
                    <a:lnTo>
                      <a:pt x="72532" y="256840"/>
                    </a:lnTo>
                    <a:lnTo>
                      <a:pt x="39916" y="357567"/>
                    </a:lnTo>
                    <a:lnTo>
                      <a:pt x="0" y="357567"/>
                    </a:lnTo>
                    <a:lnTo>
                      <a:pt x="114858" y="0"/>
                    </a:lnTo>
                    <a:lnTo>
                      <a:pt x="159864" y="0"/>
                    </a:lnTo>
                    <a:lnTo>
                      <a:pt x="274722" y="357567"/>
                    </a:lnTo>
                    <a:lnTo>
                      <a:pt x="234806" y="357567"/>
                    </a:lnTo>
                    <a:lnTo>
                      <a:pt x="202325" y="256840"/>
                    </a:lnTo>
                    <a:close/>
                    <a:moveTo>
                      <a:pt x="137428" y="54516"/>
                    </a:moveTo>
                    <a:lnTo>
                      <a:pt x="84252" y="220474"/>
                    </a:lnTo>
                    <a:lnTo>
                      <a:pt x="190470" y="220474"/>
                    </a:lnTo>
                    <a:lnTo>
                      <a:pt x="137428" y="54516"/>
                    </a:lnTo>
                    <a:close/>
                  </a:path>
                </a:pathLst>
              </a:custGeom>
              <a:grpFill/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30" name="Forma Livre: Forma 29">
                <a:extLst>
                  <a:ext uri="{FF2B5EF4-FFF2-40B4-BE49-F238E27FC236}">
                    <a16:creationId xmlns:a16="http://schemas.microsoft.com/office/drawing/2014/main" id="{0AA15EAD-77F6-4D9F-8BD8-1C1103329AD3}"/>
                  </a:ext>
                </a:extLst>
              </p:cNvPr>
              <p:cNvSpPr/>
              <p:nvPr/>
            </p:nvSpPr>
            <p:spPr>
              <a:xfrm>
                <a:off x="6918089" y="3027364"/>
                <a:ext cx="230921" cy="362723"/>
              </a:xfrm>
              <a:custGeom>
                <a:avLst/>
                <a:gdLst>
                  <a:gd name="connsiteX0" fmla="*/ 0 w 230921"/>
                  <a:gd name="connsiteY0" fmla="*/ 0 h 362723"/>
                  <a:gd name="connsiteX1" fmla="*/ 39380 w 230921"/>
                  <a:gd name="connsiteY1" fmla="*/ 0 h 362723"/>
                  <a:gd name="connsiteX2" fmla="*/ 39380 w 230921"/>
                  <a:gd name="connsiteY2" fmla="*/ 241637 h 362723"/>
                  <a:gd name="connsiteX3" fmla="*/ 115461 w 230921"/>
                  <a:gd name="connsiteY3" fmla="*/ 323880 h 362723"/>
                  <a:gd name="connsiteX4" fmla="*/ 191542 w 230921"/>
                  <a:gd name="connsiteY4" fmla="*/ 241637 h 362723"/>
                  <a:gd name="connsiteX5" fmla="*/ 191542 w 230921"/>
                  <a:gd name="connsiteY5" fmla="*/ 0 h 362723"/>
                  <a:gd name="connsiteX6" fmla="*/ 230922 w 230921"/>
                  <a:gd name="connsiteY6" fmla="*/ 0 h 362723"/>
                  <a:gd name="connsiteX7" fmla="*/ 230922 w 230921"/>
                  <a:gd name="connsiteY7" fmla="*/ 241637 h 362723"/>
                  <a:gd name="connsiteX8" fmla="*/ 115528 w 230921"/>
                  <a:gd name="connsiteY8" fmla="*/ 362724 h 362723"/>
                  <a:gd name="connsiteX9" fmla="*/ 134 w 230921"/>
                  <a:gd name="connsiteY9" fmla="*/ 241637 h 362723"/>
                  <a:gd name="connsiteX10" fmla="*/ 134 w 230921"/>
                  <a:gd name="connsiteY10" fmla="*/ 0 h 362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30921" h="362723">
                    <a:moveTo>
                      <a:pt x="0" y="0"/>
                    </a:moveTo>
                    <a:lnTo>
                      <a:pt x="39380" y="0"/>
                    </a:lnTo>
                    <a:lnTo>
                      <a:pt x="39380" y="241637"/>
                    </a:lnTo>
                    <a:cubicBezTo>
                      <a:pt x="39380" y="295684"/>
                      <a:pt x="73067" y="323880"/>
                      <a:pt x="115461" y="323880"/>
                    </a:cubicBezTo>
                    <a:cubicBezTo>
                      <a:pt x="157855" y="323880"/>
                      <a:pt x="191542" y="295885"/>
                      <a:pt x="191542" y="241637"/>
                    </a:cubicBezTo>
                    <a:lnTo>
                      <a:pt x="191542" y="0"/>
                    </a:lnTo>
                    <a:lnTo>
                      <a:pt x="230922" y="0"/>
                    </a:lnTo>
                    <a:lnTo>
                      <a:pt x="230922" y="241637"/>
                    </a:lnTo>
                    <a:cubicBezTo>
                      <a:pt x="230922" y="316781"/>
                      <a:pt x="183974" y="362724"/>
                      <a:pt x="115528" y="362724"/>
                    </a:cubicBezTo>
                    <a:cubicBezTo>
                      <a:pt x="47082" y="362724"/>
                      <a:pt x="134" y="316781"/>
                      <a:pt x="134" y="241637"/>
                    </a:cubicBezTo>
                    <a:lnTo>
                      <a:pt x="134" y="0"/>
                    </a:lnTo>
                    <a:close/>
                  </a:path>
                </a:pathLst>
              </a:custGeom>
              <a:grpFill/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31" name="Forma Livre: Forma 30">
                <a:extLst>
                  <a:ext uri="{FF2B5EF4-FFF2-40B4-BE49-F238E27FC236}">
                    <a16:creationId xmlns:a16="http://schemas.microsoft.com/office/drawing/2014/main" id="{DBF36DD0-F09B-48FD-8751-9EF3E6C67E22}"/>
                  </a:ext>
                </a:extLst>
              </p:cNvPr>
              <p:cNvSpPr/>
              <p:nvPr/>
            </p:nvSpPr>
            <p:spPr>
              <a:xfrm>
                <a:off x="7230784" y="3027364"/>
                <a:ext cx="203395" cy="357633"/>
              </a:xfrm>
              <a:custGeom>
                <a:avLst/>
                <a:gdLst>
                  <a:gd name="connsiteX0" fmla="*/ 0 w 203395"/>
                  <a:gd name="connsiteY0" fmla="*/ 0 h 357633"/>
                  <a:gd name="connsiteX1" fmla="*/ 39380 w 203395"/>
                  <a:gd name="connsiteY1" fmla="*/ 0 h 357633"/>
                  <a:gd name="connsiteX2" fmla="*/ 39380 w 203395"/>
                  <a:gd name="connsiteY2" fmla="*/ 318790 h 357633"/>
                  <a:gd name="connsiteX3" fmla="*/ 203396 w 203395"/>
                  <a:gd name="connsiteY3" fmla="*/ 318790 h 357633"/>
                  <a:gd name="connsiteX4" fmla="*/ 203396 w 203395"/>
                  <a:gd name="connsiteY4" fmla="*/ 357634 h 357633"/>
                  <a:gd name="connsiteX5" fmla="*/ 67 w 203395"/>
                  <a:gd name="connsiteY5" fmla="*/ 357634 h 357633"/>
                  <a:gd name="connsiteX6" fmla="*/ 67 w 203395"/>
                  <a:gd name="connsiteY6" fmla="*/ 0 h 357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3395" h="357633">
                    <a:moveTo>
                      <a:pt x="0" y="0"/>
                    </a:moveTo>
                    <a:lnTo>
                      <a:pt x="39380" y="0"/>
                    </a:lnTo>
                    <a:lnTo>
                      <a:pt x="39380" y="318790"/>
                    </a:lnTo>
                    <a:lnTo>
                      <a:pt x="203396" y="318790"/>
                    </a:lnTo>
                    <a:lnTo>
                      <a:pt x="203396" y="357634"/>
                    </a:lnTo>
                    <a:lnTo>
                      <a:pt x="67" y="357634"/>
                    </a:lnTo>
                    <a:lnTo>
                      <a:pt x="67" y="0"/>
                    </a:lnTo>
                    <a:close/>
                  </a:path>
                </a:pathLst>
              </a:custGeom>
              <a:grpFill/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32" name="Forma Livre: Forma 31">
                <a:extLst>
                  <a:ext uri="{FF2B5EF4-FFF2-40B4-BE49-F238E27FC236}">
                    <a16:creationId xmlns:a16="http://schemas.microsoft.com/office/drawing/2014/main" id="{70100DB7-4915-4F60-A4C7-03D41670A605}"/>
                  </a:ext>
                </a:extLst>
              </p:cNvPr>
              <p:cNvSpPr/>
              <p:nvPr/>
            </p:nvSpPr>
            <p:spPr>
              <a:xfrm>
                <a:off x="7477980" y="3023413"/>
                <a:ext cx="230787" cy="367880"/>
              </a:xfrm>
              <a:custGeom>
                <a:avLst/>
                <a:gdLst>
                  <a:gd name="connsiteX0" fmla="*/ 230788 w 230787"/>
                  <a:gd name="connsiteY0" fmla="*/ 246794 h 367880"/>
                  <a:gd name="connsiteX1" fmla="*/ 115394 w 230787"/>
                  <a:gd name="connsiteY1" fmla="*/ 367881 h 367880"/>
                  <a:gd name="connsiteX2" fmla="*/ 0 w 230787"/>
                  <a:gd name="connsiteY2" fmla="*/ 246794 h 367880"/>
                  <a:gd name="connsiteX3" fmla="*/ 0 w 230787"/>
                  <a:gd name="connsiteY3" fmla="*/ 121086 h 367880"/>
                  <a:gd name="connsiteX4" fmla="*/ 115394 w 230787"/>
                  <a:gd name="connsiteY4" fmla="*/ 0 h 367880"/>
                  <a:gd name="connsiteX5" fmla="*/ 230788 w 230787"/>
                  <a:gd name="connsiteY5" fmla="*/ 121086 h 367880"/>
                  <a:gd name="connsiteX6" fmla="*/ 230788 w 230787"/>
                  <a:gd name="connsiteY6" fmla="*/ 246794 h 367880"/>
                  <a:gd name="connsiteX7" fmla="*/ 191609 w 230787"/>
                  <a:gd name="connsiteY7" fmla="*/ 121287 h 367880"/>
                  <a:gd name="connsiteX8" fmla="*/ 115528 w 230787"/>
                  <a:gd name="connsiteY8" fmla="*/ 39045 h 367880"/>
                  <a:gd name="connsiteX9" fmla="*/ 39447 w 230787"/>
                  <a:gd name="connsiteY9" fmla="*/ 121287 h 367880"/>
                  <a:gd name="connsiteX10" fmla="*/ 39447 w 230787"/>
                  <a:gd name="connsiteY10" fmla="*/ 246995 h 367880"/>
                  <a:gd name="connsiteX11" fmla="*/ 115528 w 230787"/>
                  <a:gd name="connsiteY11" fmla="*/ 329238 h 367880"/>
                  <a:gd name="connsiteX12" fmla="*/ 191609 w 230787"/>
                  <a:gd name="connsiteY12" fmla="*/ 246995 h 367880"/>
                  <a:gd name="connsiteX13" fmla="*/ 191609 w 230787"/>
                  <a:gd name="connsiteY13" fmla="*/ 121287 h 36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30787" h="367880">
                    <a:moveTo>
                      <a:pt x="230788" y="246794"/>
                    </a:moveTo>
                    <a:cubicBezTo>
                      <a:pt x="230788" y="321938"/>
                      <a:pt x="183840" y="367881"/>
                      <a:pt x="115394" y="367881"/>
                    </a:cubicBezTo>
                    <a:cubicBezTo>
                      <a:pt x="46948" y="367881"/>
                      <a:pt x="0" y="321938"/>
                      <a:pt x="0" y="246794"/>
                    </a:cubicBezTo>
                    <a:lnTo>
                      <a:pt x="0" y="121086"/>
                    </a:lnTo>
                    <a:cubicBezTo>
                      <a:pt x="0" y="45943"/>
                      <a:pt x="46948" y="0"/>
                      <a:pt x="115394" y="0"/>
                    </a:cubicBezTo>
                    <a:cubicBezTo>
                      <a:pt x="183840" y="0"/>
                      <a:pt x="230788" y="45943"/>
                      <a:pt x="230788" y="121086"/>
                    </a:cubicBezTo>
                    <a:lnTo>
                      <a:pt x="230788" y="246794"/>
                    </a:lnTo>
                    <a:close/>
                    <a:moveTo>
                      <a:pt x="191609" y="121287"/>
                    </a:moveTo>
                    <a:cubicBezTo>
                      <a:pt x="191609" y="67241"/>
                      <a:pt x="157922" y="39045"/>
                      <a:pt x="115528" y="39045"/>
                    </a:cubicBezTo>
                    <a:cubicBezTo>
                      <a:pt x="73134" y="39045"/>
                      <a:pt x="39447" y="67040"/>
                      <a:pt x="39447" y="121287"/>
                    </a:cubicBezTo>
                    <a:lnTo>
                      <a:pt x="39447" y="246995"/>
                    </a:lnTo>
                    <a:cubicBezTo>
                      <a:pt x="39447" y="301042"/>
                      <a:pt x="73134" y="329238"/>
                      <a:pt x="115528" y="329238"/>
                    </a:cubicBezTo>
                    <a:cubicBezTo>
                      <a:pt x="157922" y="329238"/>
                      <a:pt x="191609" y="301243"/>
                      <a:pt x="191609" y="246995"/>
                    </a:cubicBezTo>
                    <a:lnTo>
                      <a:pt x="191609" y="121287"/>
                    </a:lnTo>
                    <a:close/>
                  </a:path>
                </a:pathLst>
              </a:custGeom>
              <a:grpFill/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33" name="Forma Livre: Forma 32">
                <a:extLst>
                  <a:ext uri="{FF2B5EF4-FFF2-40B4-BE49-F238E27FC236}">
                    <a16:creationId xmlns:a16="http://schemas.microsoft.com/office/drawing/2014/main" id="{DECF80B8-E568-46EF-97F4-346D2D19A6A0}"/>
                  </a:ext>
                </a:extLst>
              </p:cNvPr>
              <p:cNvSpPr/>
              <p:nvPr/>
            </p:nvSpPr>
            <p:spPr>
              <a:xfrm>
                <a:off x="6368511" y="3546805"/>
                <a:ext cx="230452" cy="357633"/>
              </a:xfrm>
              <a:custGeom>
                <a:avLst/>
                <a:gdLst>
                  <a:gd name="connsiteX0" fmla="*/ 0 w 230452"/>
                  <a:gd name="connsiteY0" fmla="*/ 38844 h 357633"/>
                  <a:gd name="connsiteX1" fmla="*/ 0 w 230452"/>
                  <a:gd name="connsiteY1" fmla="*/ 0 h 357633"/>
                  <a:gd name="connsiteX2" fmla="*/ 230453 w 230452"/>
                  <a:gd name="connsiteY2" fmla="*/ 0 h 357633"/>
                  <a:gd name="connsiteX3" fmla="*/ 230453 w 230452"/>
                  <a:gd name="connsiteY3" fmla="*/ 38844 h 357633"/>
                  <a:gd name="connsiteX4" fmla="*/ 134883 w 230452"/>
                  <a:gd name="connsiteY4" fmla="*/ 38844 h 357633"/>
                  <a:gd name="connsiteX5" fmla="*/ 134883 w 230452"/>
                  <a:gd name="connsiteY5" fmla="*/ 357634 h 357633"/>
                  <a:gd name="connsiteX6" fmla="*/ 95503 w 230452"/>
                  <a:gd name="connsiteY6" fmla="*/ 357634 h 357633"/>
                  <a:gd name="connsiteX7" fmla="*/ 95503 w 230452"/>
                  <a:gd name="connsiteY7" fmla="*/ 38844 h 357633"/>
                  <a:gd name="connsiteX8" fmla="*/ 0 w 230452"/>
                  <a:gd name="connsiteY8" fmla="*/ 38844 h 357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30452" h="357633">
                    <a:moveTo>
                      <a:pt x="0" y="38844"/>
                    </a:moveTo>
                    <a:lnTo>
                      <a:pt x="0" y="0"/>
                    </a:lnTo>
                    <a:lnTo>
                      <a:pt x="230453" y="0"/>
                    </a:lnTo>
                    <a:lnTo>
                      <a:pt x="230453" y="38844"/>
                    </a:lnTo>
                    <a:lnTo>
                      <a:pt x="134883" y="38844"/>
                    </a:lnTo>
                    <a:lnTo>
                      <a:pt x="134883" y="357634"/>
                    </a:lnTo>
                    <a:lnTo>
                      <a:pt x="95503" y="357634"/>
                    </a:lnTo>
                    <a:lnTo>
                      <a:pt x="95503" y="38844"/>
                    </a:lnTo>
                    <a:cubicBezTo>
                      <a:pt x="95503" y="38844"/>
                      <a:pt x="0" y="38844"/>
                      <a:pt x="0" y="38844"/>
                    </a:cubicBezTo>
                    <a:close/>
                  </a:path>
                </a:pathLst>
              </a:custGeom>
              <a:grpFill/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34" name="Forma Livre: Forma 33">
                <a:extLst>
                  <a:ext uri="{FF2B5EF4-FFF2-40B4-BE49-F238E27FC236}">
                    <a16:creationId xmlns:a16="http://schemas.microsoft.com/office/drawing/2014/main" id="{3F07E9D5-1AE8-4BD5-B8C1-9FDFD960C97C}"/>
                  </a:ext>
                </a:extLst>
              </p:cNvPr>
              <p:cNvSpPr/>
              <p:nvPr/>
            </p:nvSpPr>
            <p:spPr>
              <a:xfrm>
                <a:off x="6657163" y="3546871"/>
                <a:ext cx="203329" cy="357567"/>
              </a:xfrm>
              <a:custGeom>
                <a:avLst/>
                <a:gdLst>
                  <a:gd name="connsiteX0" fmla="*/ 39313 w 203329"/>
                  <a:gd name="connsiteY0" fmla="*/ 318723 h 357567"/>
                  <a:gd name="connsiteX1" fmla="*/ 203329 w 203329"/>
                  <a:gd name="connsiteY1" fmla="*/ 318723 h 357567"/>
                  <a:gd name="connsiteX2" fmla="*/ 203329 w 203329"/>
                  <a:gd name="connsiteY2" fmla="*/ 357567 h 357567"/>
                  <a:gd name="connsiteX3" fmla="*/ 0 w 203329"/>
                  <a:gd name="connsiteY3" fmla="*/ 357567 h 357567"/>
                  <a:gd name="connsiteX4" fmla="*/ 0 w 203329"/>
                  <a:gd name="connsiteY4" fmla="*/ 0 h 357567"/>
                  <a:gd name="connsiteX5" fmla="*/ 203329 w 203329"/>
                  <a:gd name="connsiteY5" fmla="*/ 0 h 357567"/>
                  <a:gd name="connsiteX6" fmla="*/ 203329 w 203329"/>
                  <a:gd name="connsiteY6" fmla="*/ 38844 h 357567"/>
                  <a:gd name="connsiteX7" fmla="*/ 39313 w 203329"/>
                  <a:gd name="connsiteY7" fmla="*/ 38844 h 357567"/>
                  <a:gd name="connsiteX8" fmla="*/ 39313 w 203329"/>
                  <a:gd name="connsiteY8" fmla="*/ 157252 h 357567"/>
                  <a:gd name="connsiteX9" fmla="*/ 167499 w 203329"/>
                  <a:gd name="connsiteY9" fmla="*/ 157252 h 357567"/>
                  <a:gd name="connsiteX10" fmla="*/ 167499 w 203329"/>
                  <a:gd name="connsiteY10" fmla="*/ 196096 h 357567"/>
                  <a:gd name="connsiteX11" fmla="*/ 39313 w 203329"/>
                  <a:gd name="connsiteY11" fmla="*/ 196096 h 357567"/>
                  <a:gd name="connsiteX12" fmla="*/ 39313 w 203329"/>
                  <a:gd name="connsiteY12" fmla="*/ 318723 h 357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3329" h="357567">
                    <a:moveTo>
                      <a:pt x="39313" y="318723"/>
                    </a:moveTo>
                    <a:lnTo>
                      <a:pt x="203329" y="318723"/>
                    </a:lnTo>
                    <a:lnTo>
                      <a:pt x="203329" y="357567"/>
                    </a:lnTo>
                    <a:lnTo>
                      <a:pt x="0" y="357567"/>
                    </a:lnTo>
                    <a:lnTo>
                      <a:pt x="0" y="0"/>
                    </a:lnTo>
                    <a:lnTo>
                      <a:pt x="203329" y="0"/>
                    </a:lnTo>
                    <a:lnTo>
                      <a:pt x="203329" y="38844"/>
                    </a:lnTo>
                    <a:lnTo>
                      <a:pt x="39313" y="38844"/>
                    </a:lnTo>
                    <a:lnTo>
                      <a:pt x="39313" y="157252"/>
                    </a:lnTo>
                    <a:lnTo>
                      <a:pt x="167499" y="157252"/>
                    </a:lnTo>
                    <a:lnTo>
                      <a:pt x="167499" y="196096"/>
                    </a:lnTo>
                    <a:lnTo>
                      <a:pt x="39313" y="196096"/>
                    </a:lnTo>
                    <a:lnTo>
                      <a:pt x="39313" y="318723"/>
                    </a:lnTo>
                    <a:close/>
                  </a:path>
                </a:pathLst>
              </a:custGeom>
              <a:grpFill/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35" name="Forma Livre: Forma 34">
                <a:extLst>
                  <a:ext uri="{FF2B5EF4-FFF2-40B4-BE49-F238E27FC236}">
                    <a16:creationId xmlns:a16="http://schemas.microsoft.com/office/drawing/2014/main" id="{F3F56ECB-50A9-44EE-8679-007B66FF7407}"/>
                  </a:ext>
                </a:extLst>
              </p:cNvPr>
              <p:cNvSpPr/>
              <p:nvPr/>
            </p:nvSpPr>
            <p:spPr>
              <a:xfrm>
                <a:off x="6920232" y="3541715"/>
                <a:ext cx="230252" cy="367880"/>
              </a:xfrm>
              <a:custGeom>
                <a:avLst/>
                <a:gdLst>
                  <a:gd name="connsiteX0" fmla="*/ 230252 w 230252"/>
                  <a:gd name="connsiteY0" fmla="*/ 110907 h 367880"/>
                  <a:gd name="connsiteX1" fmla="*/ 190872 w 230252"/>
                  <a:gd name="connsiteY1" fmla="*/ 110907 h 367880"/>
                  <a:gd name="connsiteX2" fmla="*/ 115327 w 230252"/>
                  <a:gd name="connsiteY2" fmla="*/ 38911 h 367880"/>
                  <a:gd name="connsiteX3" fmla="*/ 39246 w 230252"/>
                  <a:gd name="connsiteY3" fmla="*/ 121153 h 367880"/>
                  <a:gd name="connsiteX4" fmla="*/ 39246 w 230252"/>
                  <a:gd name="connsiteY4" fmla="*/ 246861 h 367880"/>
                  <a:gd name="connsiteX5" fmla="*/ 115327 w 230252"/>
                  <a:gd name="connsiteY5" fmla="*/ 329103 h 367880"/>
                  <a:gd name="connsiteX6" fmla="*/ 190872 w 230252"/>
                  <a:gd name="connsiteY6" fmla="*/ 257108 h 367880"/>
                  <a:gd name="connsiteX7" fmla="*/ 230252 w 230252"/>
                  <a:gd name="connsiteY7" fmla="*/ 257108 h 367880"/>
                  <a:gd name="connsiteX8" fmla="*/ 115394 w 230252"/>
                  <a:gd name="connsiteY8" fmla="*/ 367881 h 367880"/>
                  <a:gd name="connsiteX9" fmla="*/ 0 w 230252"/>
                  <a:gd name="connsiteY9" fmla="*/ 246794 h 367880"/>
                  <a:gd name="connsiteX10" fmla="*/ 0 w 230252"/>
                  <a:gd name="connsiteY10" fmla="*/ 121086 h 367880"/>
                  <a:gd name="connsiteX11" fmla="*/ 115394 w 230252"/>
                  <a:gd name="connsiteY11" fmla="*/ 0 h 367880"/>
                  <a:gd name="connsiteX12" fmla="*/ 230252 w 230252"/>
                  <a:gd name="connsiteY12" fmla="*/ 110907 h 36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0252" h="367880">
                    <a:moveTo>
                      <a:pt x="230252" y="110907"/>
                    </a:moveTo>
                    <a:lnTo>
                      <a:pt x="190872" y="110907"/>
                    </a:lnTo>
                    <a:cubicBezTo>
                      <a:pt x="186787" y="63423"/>
                      <a:pt x="155041" y="38911"/>
                      <a:pt x="115327" y="38911"/>
                    </a:cubicBezTo>
                    <a:cubicBezTo>
                      <a:pt x="72933" y="38911"/>
                      <a:pt x="39246" y="66906"/>
                      <a:pt x="39246" y="121153"/>
                    </a:cubicBezTo>
                    <a:lnTo>
                      <a:pt x="39246" y="246861"/>
                    </a:lnTo>
                    <a:cubicBezTo>
                      <a:pt x="39246" y="300908"/>
                      <a:pt x="72933" y="329103"/>
                      <a:pt x="115327" y="329103"/>
                    </a:cubicBezTo>
                    <a:cubicBezTo>
                      <a:pt x="155243" y="329103"/>
                      <a:pt x="186787" y="304659"/>
                      <a:pt x="190872" y="257108"/>
                    </a:cubicBezTo>
                    <a:lnTo>
                      <a:pt x="230252" y="257108"/>
                    </a:lnTo>
                    <a:cubicBezTo>
                      <a:pt x="226167" y="326090"/>
                      <a:pt x="180759" y="367881"/>
                      <a:pt x="115394" y="367881"/>
                    </a:cubicBezTo>
                    <a:cubicBezTo>
                      <a:pt x="46948" y="367881"/>
                      <a:pt x="0" y="321938"/>
                      <a:pt x="0" y="246794"/>
                    </a:cubicBezTo>
                    <a:lnTo>
                      <a:pt x="0" y="121086"/>
                    </a:lnTo>
                    <a:cubicBezTo>
                      <a:pt x="0" y="45943"/>
                      <a:pt x="46948" y="0"/>
                      <a:pt x="115394" y="0"/>
                    </a:cubicBezTo>
                    <a:cubicBezTo>
                      <a:pt x="180826" y="-67"/>
                      <a:pt x="226167" y="41992"/>
                      <a:pt x="230252" y="110907"/>
                    </a:cubicBezTo>
                    <a:close/>
                  </a:path>
                </a:pathLst>
              </a:custGeom>
              <a:grpFill/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36" name="Forma Livre: Forma 35">
                <a:extLst>
                  <a:ext uri="{FF2B5EF4-FFF2-40B4-BE49-F238E27FC236}">
                    <a16:creationId xmlns:a16="http://schemas.microsoft.com/office/drawing/2014/main" id="{F21D36AF-B07D-47D9-8E99-9D185EF0177B}"/>
                  </a:ext>
                </a:extLst>
              </p:cNvPr>
              <p:cNvSpPr/>
              <p:nvPr/>
            </p:nvSpPr>
            <p:spPr>
              <a:xfrm>
                <a:off x="7218394" y="3546805"/>
                <a:ext cx="231055" cy="357566"/>
              </a:xfrm>
              <a:custGeom>
                <a:avLst/>
                <a:gdLst>
                  <a:gd name="connsiteX0" fmla="*/ 191676 w 231055"/>
                  <a:gd name="connsiteY0" fmla="*/ 0 h 357566"/>
                  <a:gd name="connsiteX1" fmla="*/ 231056 w 231055"/>
                  <a:gd name="connsiteY1" fmla="*/ 0 h 357566"/>
                  <a:gd name="connsiteX2" fmla="*/ 231056 w 231055"/>
                  <a:gd name="connsiteY2" fmla="*/ 357567 h 357566"/>
                  <a:gd name="connsiteX3" fmla="*/ 191676 w 231055"/>
                  <a:gd name="connsiteY3" fmla="*/ 357567 h 357566"/>
                  <a:gd name="connsiteX4" fmla="*/ 191676 w 231055"/>
                  <a:gd name="connsiteY4" fmla="*/ 196230 h 357566"/>
                  <a:gd name="connsiteX5" fmla="*/ 39380 w 231055"/>
                  <a:gd name="connsiteY5" fmla="*/ 196230 h 357566"/>
                  <a:gd name="connsiteX6" fmla="*/ 39380 w 231055"/>
                  <a:gd name="connsiteY6" fmla="*/ 357567 h 357566"/>
                  <a:gd name="connsiteX7" fmla="*/ 0 w 231055"/>
                  <a:gd name="connsiteY7" fmla="*/ 357567 h 357566"/>
                  <a:gd name="connsiteX8" fmla="*/ 0 w 231055"/>
                  <a:gd name="connsiteY8" fmla="*/ 0 h 357566"/>
                  <a:gd name="connsiteX9" fmla="*/ 39380 w 231055"/>
                  <a:gd name="connsiteY9" fmla="*/ 0 h 357566"/>
                  <a:gd name="connsiteX10" fmla="*/ 39380 w 231055"/>
                  <a:gd name="connsiteY10" fmla="*/ 157252 h 357566"/>
                  <a:gd name="connsiteX11" fmla="*/ 191676 w 231055"/>
                  <a:gd name="connsiteY11" fmla="*/ 157252 h 357566"/>
                  <a:gd name="connsiteX12" fmla="*/ 191676 w 231055"/>
                  <a:gd name="connsiteY12" fmla="*/ 0 h 357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1055" h="357566">
                    <a:moveTo>
                      <a:pt x="191676" y="0"/>
                    </a:moveTo>
                    <a:lnTo>
                      <a:pt x="231056" y="0"/>
                    </a:lnTo>
                    <a:lnTo>
                      <a:pt x="231056" y="357567"/>
                    </a:lnTo>
                    <a:lnTo>
                      <a:pt x="191676" y="357567"/>
                    </a:lnTo>
                    <a:lnTo>
                      <a:pt x="191676" y="196230"/>
                    </a:lnTo>
                    <a:lnTo>
                      <a:pt x="39380" y="196230"/>
                    </a:lnTo>
                    <a:lnTo>
                      <a:pt x="39380" y="357567"/>
                    </a:lnTo>
                    <a:lnTo>
                      <a:pt x="0" y="357567"/>
                    </a:lnTo>
                    <a:lnTo>
                      <a:pt x="0" y="0"/>
                    </a:lnTo>
                    <a:lnTo>
                      <a:pt x="39380" y="0"/>
                    </a:lnTo>
                    <a:lnTo>
                      <a:pt x="39380" y="157252"/>
                    </a:lnTo>
                    <a:lnTo>
                      <a:pt x="191676" y="157252"/>
                    </a:lnTo>
                    <a:lnTo>
                      <a:pt x="191676" y="0"/>
                    </a:lnTo>
                    <a:close/>
                  </a:path>
                </a:pathLst>
              </a:custGeom>
              <a:grpFill/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37" name="Forma Livre: Forma 36">
                <a:extLst>
                  <a:ext uri="{FF2B5EF4-FFF2-40B4-BE49-F238E27FC236}">
                    <a16:creationId xmlns:a16="http://schemas.microsoft.com/office/drawing/2014/main" id="{CBCD2B2E-E44B-41F9-84B5-2A5B95BEEED3}"/>
                  </a:ext>
                </a:extLst>
              </p:cNvPr>
              <p:cNvSpPr/>
              <p:nvPr/>
            </p:nvSpPr>
            <p:spPr>
              <a:xfrm>
                <a:off x="6368511" y="4061288"/>
                <a:ext cx="224090" cy="367747"/>
              </a:xfrm>
              <a:custGeom>
                <a:avLst/>
                <a:gdLst>
                  <a:gd name="connsiteX0" fmla="*/ 0 w 224090"/>
                  <a:gd name="connsiteY0" fmla="*/ 256907 h 367747"/>
                  <a:gd name="connsiteX1" fmla="*/ 40451 w 224090"/>
                  <a:gd name="connsiteY1" fmla="*/ 256907 h 367747"/>
                  <a:gd name="connsiteX2" fmla="*/ 115997 w 224090"/>
                  <a:gd name="connsiteY2" fmla="*/ 328903 h 367747"/>
                  <a:gd name="connsiteX3" fmla="*/ 184443 w 224090"/>
                  <a:gd name="connsiteY3" fmla="*/ 272177 h 367747"/>
                  <a:gd name="connsiteX4" fmla="*/ 126645 w 224090"/>
                  <a:gd name="connsiteY4" fmla="*/ 209424 h 367747"/>
                  <a:gd name="connsiteX5" fmla="*/ 81238 w 224090"/>
                  <a:gd name="connsiteY5" fmla="*/ 196632 h 367747"/>
                  <a:gd name="connsiteX6" fmla="*/ 6094 w 224090"/>
                  <a:gd name="connsiteY6" fmla="*/ 95034 h 367747"/>
                  <a:gd name="connsiteX7" fmla="*/ 111777 w 224090"/>
                  <a:gd name="connsiteY7" fmla="*/ 0 h 367747"/>
                  <a:gd name="connsiteX8" fmla="*/ 219536 w 224090"/>
                  <a:gd name="connsiteY8" fmla="*/ 95570 h 367747"/>
                  <a:gd name="connsiteX9" fmla="*/ 179085 w 224090"/>
                  <a:gd name="connsiteY9" fmla="*/ 95570 h 367747"/>
                  <a:gd name="connsiteX10" fmla="*/ 111710 w 224090"/>
                  <a:gd name="connsiteY10" fmla="*/ 38844 h 367747"/>
                  <a:gd name="connsiteX11" fmla="*/ 45742 w 224090"/>
                  <a:gd name="connsiteY11" fmla="*/ 95034 h 367747"/>
                  <a:gd name="connsiteX12" fmla="*/ 98919 w 224090"/>
                  <a:gd name="connsiteY12" fmla="*/ 158323 h 367747"/>
                  <a:gd name="connsiteX13" fmla="*/ 140777 w 224090"/>
                  <a:gd name="connsiteY13" fmla="*/ 170044 h 367747"/>
                  <a:gd name="connsiteX14" fmla="*/ 224091 w 224090"/>
                  <a:gd name="connsiteY14" fmla="*/ 272177 h 367747"/>
                  <a:gd name="connsiteX15" fmla="*/ 115796 w 224090"/>
                  <a:gd name="connsiteY15" fmla="*/ 367747 h 367747"/>
                  <a:gd name="connsiteX16" fmla="*/ 0 w 224090"/>
                  <a:gd name="connsiteY16" fmla="*/ 256907 h 3677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24090" h="367747">
                    <a:moveTo>
                      <a:pt x="0" y="256907"/>
                    </a:moveTo>
                    <a:lnTo>
                      <a:pt x="40451" y="256907"/>
                    </a:lnTo>
                    <a:cubicBezTo>
                      <a:pt x="46680" y="302851"/>
                      <a:pt x="77688" y="328903"/>
                      <a:pt x="115997" y="328903"/>
                    </a:cubicBezTo>
                    <a:cubicBezTo>
                      <a:pt x="156448" y="328903"/>
                      <a:pt x="184443" y="309950"/>
                      <a:pt x="184443" y="272177"/>
                    </a:cubicBezTo>
                    <a:cubicBezTo>
                      <a:pt x="184443" y="239896"/>
                      <a:pt x="167097" y="220608"/>
                      <a:pt x="126645" y="209424"/>
                    </a:cubicBezTo>
                    <a:lnTo>
                      <a:pt x="81238" y="196632"/>
                    </a:lnTo>
                    <a:cubicBezTo>
                      <a:pt x="28062" y="181764"/>
                      <a:pt x="6094" y="138500"/>
                      <a:pt x="6094" y="95034"/>
                    </a:cubicBezTo>
                    <a:cubicBezTo>
                      <a:pt x="6094" y="33687"/>
                      <a:pt x="54650" y="0"/>
                      <a:pt x="111777" y="0"/>
                    </a:cubicBezTo>
                    <a:cubicBezTo>
                      <a:pt x="173660" y="0"/>
                      <a:pt x="211969" y="34759"/>
                      <a:pt x="219536" y="95570"/>
                    </a:cubicBezTo>
                    <a:lnTo>
                      <a:pt x="179085" y="95570"/>
                    </a:lnTo>
                    <a:cubicBezTo>
                      <a:pt x="171450" y="61347"/>
                      <a:pt x="150019" y="38844"/>
                      <a:pt x="111710" y="38844"/>
                    </a:cubicBezTo>
                    <a:cubicBezTo>
                      <a:pt x="68781" y="38844"/>
                      <a:pt x="45742" y="63825"/>
                      <a:pt x="45742" y="95034"/>
                    </a:cubicBezTo>
                    <a:cubicBezTo>
                      <a:pt x="45742" y="127650"/>
                      <a:pt x="62084" y="148211"/>
                      <a:pt x="98919" y="158323"/>
                    </a:cubicBezTo>
                    <a:lnTo>
                      <a:pt x="140777" y="170044"/>
                    </a:lnTo>
                    <a:cubicBezTo>
                      <a:pt x="191274" y="184376"/>
                      <a:pt x="224091" y="215451"/>
                      <a:pt x="224091" y="272177"/>
                    </a:cubicBezTo>
                    <a:cubicBezTo>
                      <a:pt x="224091" y="329439"/>
                      <a:pt x="187389" y="367747"/>
                      <a:pt x="115796" y="367747"/>
                    </a:cubicBezTo>
                    <a:cubicBezTo>
                      <a:pt x="51234" y="367680"/>
                      <a:pt x="5090" y="325353"/>
                      <a:pt x="0" y="256907"/>
                    </a:cubicBezTo>
                    <a:close/>
                  </a:path>
                </a:pathLst>
              </a:custGeom>
              <a:grpFill/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38" name="Forma Livre: Forma 37">
                <a:extLst>
                  <a:ext uri="{FF2B5EF4-FFF2-40B4-BE49-F238E27FC236}">
                    <a16:creationId xmlns:a16="http://schemas.microsoft.com/office/drawing/2014/main" id="{E4DE88A5-C92B-46F3-B1D9-BBC0F17CC852}"/>
                  </a:ext>
                </a:extLst>
              </p:cNvPr>
              <p:cNvSpPr/>
              <p:nvPr/>
            </p:nvSpPr>
            <p:spPr>
              <a:xfrm>
                <a:off x="6650600" y="4061154"/>
                <a:ext cx="230252" cy="367880"/>
              </a:xfrm>
              <a:custGeom>
                <a:avLst/>
                <a:gdLst>
                  <a:gd name="connsiteX0" fmla="*/ 230252 w 230252"/>
                  <a:gd name="connsiteY0" fmla="*/ 110907 h 367880"/>
                  <a:gd name="connsiteX1" fmla="*/ 190872 w 230252"/>
                  <a:gd name="connsiteY1" fmla="*/ 110907 h 367880"/>
                  <a:gd name="connsiteX2" fmla="*/ 115327 w 230252"/>
                  <a:gd name="connsiteY2" fmla="*/ 38911 h 367880"/>
                  <a:gd name="connsiteX3" fmla="*/ 39246 w 230252"/>
                  <a:gd name="connsiteY3" fmla="*/ 121153 h 367880"/>
                  <a:gd name="connsiteX4" fmla="*/ 39246 w 230252"/>
                  <a:gd name="connsiteY4" fmla="*/ 246861 h 367880"/>
                  <a:gd name="connsiteX5" fmla="*/ 115327 w 230252"/>
                  <a:gd name="connsiteY5" fmla="*/ 329104 h 367880"/>
                  <a:gd name="connsiteX6" fmla="*/ 190872 w 230252"/>
                  <a:gd name="connsiteY6" fmla="*/ 257108 h 367880"/>
                  <a:gd name="connsiteX7" fmla="*/ 230252 w 230252"/>
                  <a:gd name="connsiteY7" fmla="*/ 257108 h 367880"/>
                  <a:gd name="connsiteX8" fmla="*/ 115394 w 230252"/>
                  <a:gd name="connsiteY8" fmla="*/ 367881 h 367880"/>
                  <a:gd name="connsiteX9" fmla="*/ 0 w 230252"/>
                  <a:gd name="connsiteY9" fmla="*/ 246794 h 367880"/>
                  <a:gd name="connsiteX10" fmla="*/ 0 w 230252"/>
                  <a:gd name="connsiteY10" fmla="*/ 121086 h 367880"/>
                  <a:gd name="connsiteX11" fmla="*/ 115394 w 230252"/>
                  <a:gd name="connsiteY11" fmla="*/ 0 h 367880"/>
                  <a:gd name="connsiteX12" fmla="*/ 230252 w 230252"/>
                  <a:gd name="connsiteY12" fmla="*/ 110907 h 36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0252" h="367880">
                    <a:moveTo>
                      <a:pt x="230252" y="110907"/>
                    </a:moveTo>
                    <a:lnTo>
                      <a:pt x="190872" y="110907"/>
                    </a:lnTo>
                    <a:cubicBezTo>
                      <a:pt x="186787" y="63423"/>
                      <a:pt x="155042" y="38911"/>
                      <a:pt x="115327" y="38911"/>
                    </a:cubicBezTo>
                    <a:cubicBezTo>
                      <a:pt x="72933" y="38911"/>
                      <a:pt x="39246" y="66906"/>
                      <a:pt x="39246" y="121153"/>
                    </a:cubicBezTo>
                    <a:lnTo>
                      <a:pt x="39246" y="246861"/>
                    </a:lnTo>
                    <a:cubicBezTo>
                      <a:pt x="39246" y="300908"/>
                      <a:pt x="72933" y="329104"/>
                      <a:pt x="115327" y="329104"/>
                    </a:cubicBezTo>
                    <a:cubicBezTo>
                      <a:pt x="155243" y="329104"/>
                      <a:pt x="186787" y="304659"/>
                      <a:pt x="190872" y="257108"/>
                    </a:cubicBezTo>
                    <a:lnTo>
                      <a:pt x="230252" y="257108"/>
                    </a:lnTo>
                    <a:cubicBezTo>
                      <a:pt x="226167" y="326090"/>
                      <a:pt x="180759" y="367881"/>
                      <a:pt x="115394" y="367881"/>
                    </a:cubicBezTo>
                    <a:cubicBezTo>
                      <a:pt x="46948" y="367881"/>
                      <a:pt x="0" y="321938"/>
                      <a:pt x="0" y="246794"/>
                    </a:cubicBezTo>
                    <a:lnTo>
                      <a:pt x="0" y="121086"/>
                    </a:lnTo>
                    <a:cubicBezTo>
                      <a:pt x="0" y="45943"/>
                      <a:pt x="46948" y="0"/>
                      <a:pt x="115394" y="0"/>
                    </a:cubicBezTo>
                    <a:cubicBezTo>
                      <a:pt x="180759" y="-67"/>
                      <a:pt x="226167" y="41992"/>
                      <a:pt x="230252" y="110907"/>
                    </a:cubicBezTo>
                    <a:close/>
                  </a:path>
                </a:pathLst>
              </a:custGeom>
              <a:grpFill/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39" name="Forma Livre: Forma 38">
                <a:extLst>
                  <a:ext uri="{FF2B5EF4-FFF2-40B4-BE49-F238E27FC236}">
                    <a16:creationId xmlns:a16="http://schemas.microsoft.com/office/drawing/2014/main" id="{E63150B0-99ED-46B8-A4B4-924696AEA532}"/>
                  </a:ext>
                </a:extLst>
              </p:cNvPr>
              <p:cNvSpPr/>
              <p:nvPr/>
            </p:nvSpPr>
            <p:spPr>
              <a:xfrm>
                <a:off x="6948695" y="4066244"/>
                <a:ext cx="231055" cy="357566"/>
              </a:xfrm>
              <a:custGeom>
                <a:avLst/>
                <a:gdLst>
                  <a:gd name="connsiteX0" fmla="*/ 191676 w 231055"/>
                  <a:gd name="connsiteY0" fmla="*/ 0 h 357566"/>
                  <a:gd name="connsiteX1" fmla="*/ 231056 w 231055"/>
                  <a:gd name="connsiteY1" fmla="*/ 0 h 357566"/>
                  <a:gd name="connsiteX2" fmla="*/ 231056 w 231055"/>
                  <a:gd name="connsiteY2" fmla="*/ 357567 h 357566"/>
                  <a:gd name="connsiteX3" fmla="*/ 191676 w 231055"/>
                  <a:gd name="connsiteY3" fmla="*/ 357567 h 357566"/>
                  <a:gd name="connsiteX4" fmla="*/ 191676 w 231055"/>
                  <a:gd name="connsiteY4" fmla="*/ 196230 h 357566"/>
                  <a:gd name="connsiteX5" fmla="*/ 39380 w 231055"/>
                  <a:gd name="connsiteY5" fmla="*/ 196230 h 357566"/>
                  <a:gd name="connsiteX6" fmla="*/ 39380 w 231055"/>
                  <a:gd name="connsiteY6" fmla="*/ 357567 h 357566"/>
                  <a:gd name="connsiteX7" fmla="*/ 0 w 231055"/>
                  <a:gd name="connsiteY7" fmla="*/ 357567 h 357566"/>
                  <a:gd name="connsiteX8" fmla="*/ 0 w 231055"/>
                  <a:gd name="connsiteY8" fmla="*/ 0 h 357566"/>
                  <a:gd name="connsiteX9" fmla="*/ 39380 w 231055"/>
                  <a:gd name="connsiteY9" fmla="*/ 0 h 357566"/>
                  <a:gd name="connsiteX10" fmla="*/ 39380 w 231055"/>
                  <a:gd name="connsiteY10" fmla="*/ 157252 h 357566"/>
                  <a:gd name="connsiteX11" fmla="*/ 191676 w 231055"/>
                  <a:gd name="connsiteY11" fmla="*/ 157252 h 357566"/>
                  <a:gd name="connsiteX12" fmla="*/ 191676 w 231055"/>
                  <a:gd name="connsiteY12" fmla="*/ 0 h 357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1055" h="357566">
                    <a:moveTo>
                      <a:pt x="191676" y="0"/>
                    </a:moveTo>
                    <a:lnTo>
                      <a:pt x="231056" y="0"/>
                    </a:lnTo>
                    <a:lnTo>
                      <a:pt x="231056" y="357567"/>
                    </a:lnTo>
                    <a:lnTo>
                      <a:pt x="191676" y="357567"/>
                    </a:lnTo>
                    <a:lnTo>
                      <a:pt x="191676" y="196230"/>
                    </a:lnTo>
                    <a:lnTo>
                      <a:pt x="39380" y="196230"/>
                    </a:lnTo>
                    <a:lnTo>
                      <a:pt x="39380" y="357567"/>
                    </a:lnTo>
                    <a:lnTo>
                      <a:pt x="0" y="357567"/>
                    </a:lnTo>
                    <a:lnTo>
                      <a:pt x="0" y="0"/>
                    </a:lnTo>
                    <a:lnTo>
                      <a:pt x="39380" y="0"/>
                    </a:lnTo>
                    <a:lnTo>
                      <a:pt x="39380" y="157252"/>
                    </a:lnTo>
                    <a:lnTo>
                      <a:pt x="191676" y="157252"/>
                    </a:lnTo>
                    <a:lnTo>
                      <a:pt x="191676" y="0"/>
                    </a:lnTo>
                    <a:close/>
                  </a:path>
                </a:pathLst>
              </a:custGeom>
              <a:grpFill/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40" name="Forma Livre: Forma 39">
                <a:extLst>
                  <a:ext uri="{FF2B5EF4-FFF2-40B4-BE49-F238E27FC236}">
                    <a16:creationId xmlns:a16="http://schemas.microsoft.com/office/drawing/2014/main" id="{843BB43A-F5A2-4D86-BF4D-17B9A6A2BC41}"/>
                  </a:ext>
                </a:extLst>
              </p:cNvPr>
              <p:cNvSpPr/>
              <p:nvPr/>
            </p:nvSpPr>
            <p:spPr>
              <a:xfrm>
                <a:off x="7249269" y="4061087"/>
                <a:ext cx="230787" cy="367880"/>
              </a:xfrm>
              <a:custGeom>
                <a:avLst/>
                <a:gdLst>
                  <a:gd name="connsiteX0" fmla="*/ 230788 w 230787"/>
                  <a:gd name="connsiteY0" fmla="*/ 246794 h 367880"/>
                  <a:gd name="connsiteX1" fmla="*/ 115394 w 230787"/>
                  <a:gd name="connsiteY1" fmla="*/ 367881 h 367880"/>
                  <a:gd name="connsiteX2" fmla="*/ 0 w 230787"/>
                  <a:gd name="connsiteY2" fmla="*/ 246794 h 367880"/>
                  <a:gd name="connsiteX3" fmla="*/ 0 w 230787"/>
                  <a:gd name="connsiteY3" fmla="*/ 121087 h 367880"/>
                  <a:gd name="connsiteX4" fmla="*/ 115394 w 230787"/>
                  <a:gd name="connsiteY4" fmla="*/ 0 h 367880"/>
                  <a:gd name="connsiteX5" fmla="*/ 230788 w 230787"/>
                  <a:gd name="connsiteY5" fmla="*/ 121087 h 367880"/>
                  <a:gd name="connsiteX6" fmla="*/ 230788 w 230787"/>
                  <a:gd name="connsiteY6" fmla="*/ 246794 h 367880"/>
                  <a:gd name="connsiteX7" fmla="*/ 191475 w 230787"/>
                  <a:gd name="connsiteY7" fmla="*/ 121087 h 367880"/>
                  <a:gd name="connsiteX8" fmla="*/ 115394 w 230787"/>
                  <a:gd name="connsiteY8" fmla="*/ 38844 h 367880"/>
                  <a:gd name="connsiteX9" fmla="*/ 39313 w 230787"/>
                  <a:gd name="connsiteY9" fmla="*/ 121087 h 367880"/>
                  <a:gd name="connsiteX10" fmla="*/ 39313 w 230787"/>
                  <a:gd name="connsiteY10" fmla="*/ 246794 h 367880"/>
                  <a:gd name="connsiteX11" fmla="*/ 115394 w 230787"/>
                  <a:gd name="connsiteY11" fmla="*/ 329037 h 367880"/>
                  <a:gd name="connsiteX12" fmla="*/ 191475 w 230787"/>
                  <a:gd name="connsiteY12" fmla="*/ 246794 h 367880"/>
                  <a:gd name="connsiteX13" fmla="*/ 191475 w 230787"/>
                  <a:gd name="connsiteY13" fmla="*/ 121087 h 36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30787" h="367880">
                    <a:moveTo>
                      <a:pt x="230788" y="246794"/>
                    </a:moveTo>
                    <a:cubicBezTo>
                      <a:pt x="230788" y="321938"/>
                      <a:pt x="183840" y="367881"/>
                      <a:pt x="115394" y="367881"/>
                    </a:cubicBezTo>
                    <a:cubicBezTo>
                      <a:pt x="46948" y="367881"/>
                      <a:pt x="0" y="321938"/>
                      <a:pt x="0" y="246794"/>
                    </a:cubicBezTo>
                    <a:lnTo>
                      <a:pt x="0" y="121087"/>
                    </a:lnTo>
                    <a:cubicBezTo>
                      <a:pt x="0" y="45943"/>
                      <a:pt x="46948" y="0"/>
                      <a:pt x="115394" y="0"/>
                    </a:cubicBezTo>
                    <a:cubicBezTo>
                      <a:pt x="183840" y="0"/>
                      <a:pt x="230788" y="45943"/>
                      <a:pt x="230788" y="121087"/>
                    </a:cubicBezTo>
                    <a:lnTo>
                      <a:pt x="230788" y="246794"/>
                    </a:lnTo>
                    <a:close/>
                    <a:moveTo>
                      <a:pt x="191475" y="121087"/>
                    </a:moveTo>
                    <a:cubicBezTo>
                      <a:pt x="191475" y="67040"/>
                      <a:pt x="157788" y="38844"/>
                      <a:pt x="115394" y="38844"/>
                    </a:cubicBezTo>
                    <a:cubicBezTo>
                      <a:pt x="73000" y="38844"/>
                      <a:pt x="39313" y="66839"/>
                      <a:pt x="39313" y="121087"/>
                    </a:cubicBezTo>
                    <a:lnTo>
                      <a:pt x="39313" y="246794"/>
                    </a:lnTo>
                    <a:cubicBezTo>
                      <a:pt x="39313" y="300841"/>
                      <a:pt x="73000" y="329037"/>
                      <a:pt x="115394" y="329037"/>
                    </a:cubicBezTo>
                    <a:cubicBezTo>
                      <a:pt x="157788" y="329037"/>
                      <a:pt x="191475" y="301042"/>
                      <a:pt x="191475" y="246794"/>
                    </a:cubicBezTo>
                    <a:lnTo>
                      <a:pt x="191475" y="121087"/>
                    </a:lnTo>
                    <a:close/>
                  </a:path>
                </a:pathLst>
              </a:custGeom>
              <a:grpFill/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41" name="Forma Livre: Forma 40">
                <a:extLst>
                  <a:ext uri="{FF2B5EF4-FFF2-40B4-BE49-F238E27FC236}">
                    <a16:creationId xmlns:a16="http://schemas.microsoft.com/office/drawing/2014/main" id="{D178D05D-1AD6-41D2-91DE-836512218E3D}"/>
                  </a:ext>
                </a:extLst>
              </p:cNvPr>
              <p:cNvSpPr/>
              <p:nvPr/>
            </p:nvSpPr>
            <p:spPr>
              <a:xfrm>
                <a:off x="7539327" y="4061087"/>
                <a:ext cx="230787" cy="367880"/>
              </a:xfrm>
              <a:custGeom>
                <a:avLst/>
                <a:gdLst>
                  <a:gd name="connsiteX0" fmla="*/ 230788 w 230787"/>
                  <a:gd name="connsiteY0" fmla="*/ 246794 h 367880"/>
                  <a:gd name="connsiteX1" fmla="*/ 115394 w 230787"/>
                  <a:gd name="connsiteY1" fmla="*/ 367881 h 367880"/>
                  <a:gd name="connsiteX2" fmla="*/ 0 w 230787"/>
                  <a:gd name="connsiteY2" fmla="*/ 246794 h 367880"/>
                  <a:gd name="connsiteX3" fmla="*/ 0 w 230787"/>
                  <a:gd name="connsiteY3" fmla="*/ 121087 h 367880"/>
                  <a:gd name="connsiteX4" fmla="*/ 115394 w 230787"/>
                  <a:gd name="connsiteY4" fmla="*/ 0 h 367880"/>
                  <a:gd name="connsiteX5" fmla="*/ 230788 w 230787"/>
                  <a:gd name="connsiteY5" fmla="*/ 121087 h 367880"/>
                  <a:gd name="connsiteX6" fmla="*/ 230788 w 230787"/>
                  <a:gd name="connsiteY6" fmla="*/ 246794 h 367880"/>
                  <a:gd name="connsiteX7" fmla="*/ 191408 w 230787"/>
                  <a:gd name="connsiteY7" fmla="*/ 121087 h 367880"/>
                  <a:gd name="connsiteX8" fmla="*/ 115327 w 230787"/>
                  <a:gd name="connsiteY8" fmla="*/ 38844 h 367880"/>
                  <a:gd name="connsiteX9" fmla="*/ 39246 w 230787"/>
                  <a:gd name="connsiteY9" fmla="*/ 121087 h 367880"/>
                  <a:gd name="connsiteX10" fmla="*/ 39246 w 230787"/>
                  <a:gd name="connsiteY10" fmla="*/ 246794 h 367880"/>
                  <a:gd name="connsiteX11" fmla="*/ 115327 w 230787"/>
                  <a:gd name="connsiteY11" fmla="*/ 329037 h 367880"/>
                  <a:gd name="connsiteX12" fmla="*/ 191408 w 230787"/>
                  <a:gd name="connsiteY12" fmla="*/ 246794 h 367880"/>
                  <a:gd name="connsiteX13" fmla="*/ 191408 w 230787"/>
                  <a:gd name="connsiteY13" fmla="*/ 121087 h 36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30787" h="367880">
                    <a:moveTo>
                      <a:pt x="230788" y="246794"/>
                    </a:moveTo>
                    <a:cubicBezTo>
                      <a:pt x="230788" y="321938"/>
                      <a:pt x="183840" y="367881"/>
                      <a:pt x="115394" y="367881"/>
                    </a:cubicBezTo>
                    <a:cubicBezTo>
                      <a:pt x="46948" y="367881"/>
                      <a:pt x="0" y="321938"/>
                      <a:pt x="0" y="246794"/>
                    </a:cubicBezTo>
                    <a:lnTo>
                      <a:pt x="0" y="121087"/>
                    </a:lnTo>
                    <a:cubicBezTo>
                      <a:pt x="0" y="45943"/>
                      <a:pt x="46948" y="0"/>
                      <a:pt x="115394" y="0"/>
                    </a:cubicBezTo>
                    <a:cubicBezTo>
                      <a:pt x="183840" y="0"/>
                      <a:pt x="230788" y="45943"/>
                      <a:pt x="230788" y="121087"/>
                    </a:cubicBezTo>
                    <a:lnTo>
                      <a:pt x="230788" y="246794"/>
                    </a:lnTo>
                    <a:close/>
                    <a:moveTo>
                      <a:pt x="191408" y="121087"/>
                    </a:moveTo>
                    <a:cubicBezTo>
                      <a:pt x="191408" y="67040"/>
                      <a:pt x="157721" y="38844"/>
                      <a:pt x="115327" y="38844"/>
                    </a:cubicBezTo>
                    <a:cubicBezTo>
                      <a:pt x="72933" y="38844"/>
                      <a:pt x="39246" y="66839"/>
                      <a:pt x="39246" y="121087"/>
                    </a:cubicBezTo>
                    <a:lnTo>
                      <a:pt x="39246" y="246794"/>
                    </a:lnTo>
                    <a:cubicBezTo>
                      <a:pt x="39246" y="300841"/>
                      <a:pt x="72933" y="329037"/>
                      <a:pt x="115327" y="329037"/>
                    </a:cubicBezTo>
                    <a:cubicBezTo>
                      <a:pt x="157721" y="329037"/>
                      <a:pt x="191408" y="301042"/>
                      <a:pt x="191408" y="246794"/>
                    </a:cubicBezTo>
                    <a:lnTo>
                      <a:pt x="191408" y="121087"/>
                    </a:lnTo>
                    <a:close/>
                  </a:path>
                </a:pathLst>
              </a:custGeom>
              <a:grpFill/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42" name="Forma Livre: Forma 41">
                <a:extLst>
                  <a:ext uri="{FF2B5EF4-FFF2-40B4-BE49-F238E27FC236}">
                    <a16:creationId xmlns:a16="http://schemas.microsoft.com/office/drawing/2014/main" id="{6B1A327A-C74A-4090-A442-3A1558AE0AE0}"/>
                  </a:ext>
                </a:extLst>
              </p:cNvPr>
              <p:cNvSpPr/>
              <p:nvPr/>
            </p:nvSpPr>
            <p:spPr>
              <a:xfrm>
                <a:off x="7841575" y="4066244"/>
                <a:ext cx="203328" cy="357633"/>
              </a:xfrm>
              <a:custGeom>
                <a:avLst/>
                <a:gdLst>
                  <a:gd name="connsiteX0" fmla="*/ 0 w 203328"/>
                  <a:gd name="connsiteY0" fmla="*/ 0 h 357633"/>
                  <a:gd name="connsiteX1" fmla="*/ 39380 w 203328"/>
                  <a:gd name="connsiteY1" fmla="*/ 0 h 357633"/>
                  <a:gd name="connsiteX2" fmla="*/ 39380 w 203328"/>
                  <a:gd name="connsiteY2" fmla="*/ 318790 h 357633"/>
                  <a:gd name="connsiteX3" fmla="*/ 203329 w 203328"/>
                  <a:gd name="connsiteY3" fmla="*/ 318790 h 357633"/>
                  <a:gd name="connsiteX4" fmla="*/ 203329 w 203328"/>
                  <a:gd name="connsiteY4" fmla="*/ 357634 h 357633"/>
                  <a:gd name="connsiteX5" fmla="*/ 0 w 203328"/>
                  <a:gd name="connsiteY5" fmla="*/ 357634 h 357633"/>
                  <a:gd name="connsiteX6" fmla="*/ 0 w 203328"/>
                  <a:gd name="connsiteY6" fmla="*/ 0 h 357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3328" h="357633">
                    <a:moveTo>
                      <a:pt x="0" y="0"/>
                    </a:moveTo>
                    <a:lnTo>
                      <a:pt x="39380" y="0"/>
                    </a:lnTo>
                    <a:lnTo>
                      <a:pt x="39380" y="318790"/>
                    </a:lnTo>
                    <a:lnTo>
                      <a:pt x="203329" y="318790"/>
                    </a:lnTo>
                    <a:lnTo>
                      <a:pt x="203329" y="357634"/>
                    </a:lnTo>
                    <a:lnTo>
                      <a:pt x="0" y="35763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</p:grpSp>
        <p:grpSp>
          <p:nvGrpSpPr>
            <p:cNvPr id="17" name="Gráfico 3">
              <a:extLst>
                <a:ext uri="{FF2B5EF4-FFF2-40B4-BE49-F238E27FC236}">
                  <a16:creationId xmlns:a16="http://schemas.microsoft.com/office/drawing/2014/main" id="{D2F9D3D3-6A5E-49A8-82BE-B2E2300ED518}"/>
                </a:ext>
              </a:extLst>
            </p:cNvPr>
            <p:cNvGrpSpPr/>
            <p:nvPr/>
          </p:nvGrpSpPr>
          <p:grpSpPr>
            <a:xfrm>
              <a:off x="3880519" y="2375886"/>
              <a:ext cx="2188681" cy="2190890"/>
              <a:chOff x="4147095" y="2502567"/>
              <a:chExt cx="1925329" cy="1927272"/>
            </a:xfrm>
            <a:solidFill>
              <a:srgbClr val="D0D3D4"/>
            </a:solidFill>
          </p:grpSpPr>
          <p:sp>
            <p:nvSpPr>
              <p:cNvPr id="23" name="Forma Livre: Forma 22">
                <a:extLst>
                  <a:ext uri="{FF2B5EF4-FFF2-40B4-BE49-F238E27FC236}">
                    <a16:creationId xmlns:a16="http://schemas.microsoft.com/office/drawing/2014/main" id="{9D27BDA0-2ADD-4572-8FD4-831AEAD81FD0}"/>
                  </a:ext>
                </a:extLst>
              </p:cNvPr>
              <p:cNvSpPr/>
              <p:nvPr/>
            </p:nvSpPr>
            <p:spPr>
              <a:xfrm>
                <a:off x="4625615" y="3946899"/>
                <a:ext cx="482939" cy="482939"/>
              </a:xfrm>
              <a:custGeom>
                <a:avLst/>
                <a:gdLst>
                  <a:gd name="connsiteX0" fmla="*/ 0 w 482939"/>
                  <a:gd name="connsiteY0" fmla="*/ 482940 h 482939"/>
                  <a:gd name="connsiteX1" fmla="*/ 63490 w 482939"/>
                  <a:gd name="connsiteY1" fmla="*/ 482940 h 482939"/>
                  <a:gd name="connsiteX2" fmla="*/ 482940 w 482939"/>
                  <a:gd name="connsiteY2" fmla="*/ 482940 h 482939"/>
                  <a:gd name="connsiteX3" fmla="*/ 482940 w 482939"/>
                  <a:gd name="connsiteY3" fmla="*/ 0 h 482939"/>
                  <a:gd name="connsiteX4" fmla="*/ 0 w 482939"/>
                  <a:gd name="connsiteY4" fmla="*/ 482940 h 4829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2939" h="482939">
                    <a:moveTo>
                      <a:pt x="0" y="482940"/>
                    </a:moveTo>
                    <a:lnTo>
                      <a:pt x="63490" y="482940"/>
                    </a:lnTo>
                    <a:lnTo>
                      <a:pt x="482940" y="482940"/>
                    </a:lnTo>
                    <a:lnTo>
                      <a:pt x="482940" y="0"/>
                    </a:lnTo>
                    <a:cubicBezTo>
                      <a:pt x="482873" y="266685"/>
                      <a:pt x="266618" y="482940"/>
                      <a:pt x="0" y="482940"/>
                    </a:cubicBezTo>
                    <a:close/>
                  </a:path>
                </a:pathLst>
              </a:custGeom>
              <a:solidFill>
                <a:srgbClr val="D0D3D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24" name="Forma Livre: Forma 23">
                <a:extLst>
                  <a:ext uri="{FF2B5EF4-FFF2-40B4-BE49-F238E27FC236}">
                    <a16:creationId xmlns:a16="http://schemas.microsoft.com/office/drawing/2014/main" id="{14918DCB-6725-4EBD-ACDC-1FD52B57BC05}"/>
                  </a:ext>
                </a:extLst>
              </p:cNvPr>
              <p:cNvSpPr/>
              <p:nvPr/>
            </p:nvSpPr>
            <p:spPr>
              <a:xfrm>
                <a:off x="4147095" y="2502567"/>
                <a:ext cx="1925329" cy="1927137"/>
              </a:xfrm>
              <a:custGeom>
                <a:avLst/>
                <a:gdLst>
                  <a:gd name="connsiteX0" fmla="*/ 0 w 1925329"/>
                  <a:gd name="connsiteY0" fmla="*/ 0 h 1927137"/>
                  <a:gd name="connsiteX1" fmla="*/ 0 w 1925329"/>
                  <a:gd name="connsiteY1" fmla="*/ 961392 h 1927137"/>
                  <a:gd name="connsiteX2" fmla="*/ 478520 w 1925329"/>
                  <a:gd name="connsiteY2" fmla="*/ 961392 h 1927137"/>
                  <a:gd name="connsiteX3" fmla="*/ 552123 w 1925329"/>
                  <a:gd name="connsiteY3" fmla="*/ 966884 h 1927137"/>
                  <a:gd name="connsiteX4" fmla="*/ 687943 w 1925329"/>
                  <a:gd name="connsiteY4" fmla="*/ 1008876 h 1927137"/>
                  <a:gd name="connsiteX5" fmla="*/ 728863 w 1925329"/>
                  <a:gd name="connsiteY5" fmla="*/ 1031245 h 1927137"/>
                  <a:gd name="connsiteX6" fmla="*/ 785589 w 1925329"/>
                  <a:gd name="connsiteY6" fmla="*/ 1071696 h 1927137"/>
                  <a:gd name="connsiteX7" fmla="*/ 878815 w 1925329"/>
                  <a:gd name="connsiteY7" fmla="*/ 1174366 h 1927137"/>
                  <a:gd name="connsiteX8" fmla="*/ 902925 w 1925329"/>
                  <a:gd name="connsiteY8" fmla="*/ 1214281 h 1927137"/>
                  <a:gd name="connsiteX9" fmla="*/ 923285 w 1925329"/>
                  <a:gd name="connsiteY9" fmla="*/ 1256474 h 1927137"/>
                  <a:gd name="connsiteX10" fmla="*/ 945989 w 1925329"/>
                  <a:gd name="connsiteY10" fmla="*/ 1323648 h 1927137"/>
                  <a:gd name="connsiteX11" fmla="*/ 961259 w 1925329"/>
                  <a:gd name="connsiteY11" fmla="*/ 1444399 h 1927137"/>
                  <a:gd name="connsiteX12" fmla="*/ 961259 w 1925329"/>
                  <a:gd name="connsiteY12" fmla="*/ 1141750 h 1927137"/>
                  <a:gd name="connsiteX13" fmla="*/ 1261765 w 1925329"/>
                  <a:gd name="connsiteY13" fmla="*/ 1141750 h 1927137"/>
                  <a:gd name="connsiteX14" fmla="*/ 1261765 w 1925329"/>
                  <a:gd name="connsiteY14" fmla="*/ 1927138 h 1927137"/>
                  <a:gd name="connsiteX15" fmla="*/ 1925330 w 1925329"/>
                  <a:gd name="connsiteY15" fmla="*/ 1927138 h 1927137"/>
                  <a:gd name="connsiteX16" fmla="*/ 1925330 w 1925329"/>
                  <a:gd name="connsiteY16" fmla="*/ 1927138 h 1927137"/>
                  <a:gd name="connsiteX17" fmla="*/ 1925330 w 1925329"/>
                  <a:gd name="connsiteY17" fmla="*/ 0 h 1927137"/>
                  <a:gd name="connsiteX18" fmla="*/ 0 w 1925329"/>
                  <a:gd name="connsiteY18" fmla="*/ 0 h 1927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25329" h="1927137">
                    <a:moveTo>
                      <a:pt x="0" y="0"/>
                    </a:moveTo>
                    <a:lnTo>
                      <a:pt x="0" y="961392"/>
                    </a:lnTo>
                    <a:lnTo>
                      <a:pt x="478520" y="961392"/>
                    </a:lnTo>
                    <a:cubicBezTo>
                      <a:pt x="503500" y="961392"/>
                      <a:pt x="528146" y="963335"/>
                      <a:pt x="552123" y="966884"/>
                    </a:cubicBezTo>
                    <a:cubicBezTo>
                      <a:pt x="600008" y="974184"/>
                      <a:pt x="645750" y="988516"/>
                      <a:pt x="687943" y="1008876"/>
                    </a:cubicBezTo>
                    <a:cubicBezTo>
                      <a:pt x="701940" y="1015640"/>
                      <a:pt x="715804" y="1023074"/>
                      <a:pt x="728863" y="1031245"/>
                    </a:cubicBezTo>
                    <a:cubicBezTo>
                      <a:pt x="748687" y="1043300"/>
                      <a:pt x="767708" y="1056762"/>
                      <a:pt x="785589" y="1071696"/>
                    </a:cubicBezTo>
                    <a:cubicBezTo>
                      <a:pt x="821420" y="1101298"/>
                      <a:pt x="852763" y="1135856"/>
                      <a:pt x="878815" y="1174366"/>
                    </a:cubicBezTo>
                    <a:cubicBezTo>
                      <a:pt x="887522" y="1187157"/>
                      <a:pt x="895491" y="1200418"/>
                      <a:pt x="902925" y="1214281"/>
                    </a:cubicBezTo>
                    <a:cubicBezTo>
                      <a:pt x="910359" y="1227944"/>
                      <a:pt x="917124" y="1242142"/>
                      <a:pt x="923285" y="1256474"/>
                    </a:cubicBezTo>
                    <a:cubicBezTo>
                      <a:pt x="932527" y="1278106"/>
                      <a:pt x="940095" y="1300609"/>
                      <a:pt x="945989" y="1323648"/>
                    </a:cubicBezTo>
                    <a:cubicBezTo>
                      <a:pt x="955901" y="1362291"/>
                      <a:pt x="961259" y="1402742"/>
                      <a:pt x="961259" y="1444399"/>
                    </a:cubicBezTo>
                    <a:lnTo>
                      <a:pt x="961259" y="1141750"/>
                    </a:lnTo>
                    <a:lnTo>
                      <a:pt x="1261765" y="1141750"/>
                    </a:lnTo>
                    <a:lnTo>
                      <a:pt x="1261765" y="1927138"/>
                    </a:lnTo>
                    <a:lnTo>
                      <a:pt x="1925330" y="1927138"/>
                    </a:lnTo>
                    <a:lnTo>
                      <a:pt x="1925330" y="1927138"/>
                    </a:lnTo>
                    <a:lnTo>
                      <a:pt x="192533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0D3D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</p:grpSp>
      </p:grpSp>
      <p:sp>
        <p:nvSpPr>
          <p:cNvPr id="18" name="Forma Livre: Forma 17">
            <a:extLst>
              <a:ext uri="{FF2B5EF4-FFF2-40B4-BE49-F238E27FC236}">
                <a16:creationId xmlns:a16="http://schemas.microsoft.com/office/drawing/2014/main" id="{8A0A2E2B-6358-4D4C-891D-0CAEADAAFB6E}"/>
              </a:ext>
            </a:extLst>
          </p:cNvPr>
          <p:cNvSpPr/>
          <p:nvPr/>
        </p:nvSpPr>
        <p:spPr>
          <a:xfrm>
            <a:off x="5483707" y="4050544"/>
            <a:ext cx="376661" cy="984371"/>
          </a:xfrm>
          <a:custGeom>
            <a:avLst/>
            <a:gdLst>
              <a:gd name="connsiteX0" fmla="*/ 0 w 300506"/>
              <a:gd name="connsiteY0" fmla="*/ 0 h 785388"/>
              <a:gd name="connsiteX1" fmla="*/ 300506 w 300506"/>
              <a:gd name="connsiteY1" fmla="*/ 0 h 785388"/>
              <a:gd name="connsiteX2" fmla="*/ 300506 w 300506"/>
              <a:gd name="connsiteY2" fmla="*/ 785389 h 785388"/>
              <a:gd name="connsiteX3" fmla="*/ 0 w 300506"/>
              <a:gd name="connsiteY3" fmla="*/ 785389 h 785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0506" h="785388">
                <a:moveTo>
                  <a:pt x="0" y="0"/>
                </a:moveTo>
                <a:lnTo>
                  <a:pt x="300506" y="0"/>
                </a:lnTo>
                <a:lnTo>
                  <a:pt x="300506" y="785389"/>
                </a:lnTo>
                <a:lnTo>
                  <a:pt x="0" y="785389"/>
                </a:lnTo>
                <a:close/>
              </a:path>
            </a:pathLst>
          </a:custGeom>
          <a:solidFill>
            <a:srgbClr val="1F2A44"/>
          </a:solidFill>
          <a:ln w="6697" cap="flat">
            <a:noFill/>
            <a:prstDash val="solid"/>
            <a:miter/>
          </a:ln>
        </p:spPr>
        <p:txBody>
          <a:bodyPr rtlCol="0" anchor="ctr"/>
          <a:lstStyle/>
          <a:p>
            <a:endParaRPr lang="pt-BR" sz="2315"/>
          </a:p>
        </p:txBody>
      </p:sp>
      <p:sp>
        <p:nvSpPr>
          <p:cNvPr id="19" name="Forma Livre: Forma 18">
            <a:extLst>
              <a:ext uri="{FF2B5EF4-FFF2-40B4-BE49-F238E27FC236}">
                <a16:creationId xmlns:a16="http://schemas.microsoft.com/office/drawing/2014/main" id="{5D59398C-E2C3-4F29-A793-85BFD74104FC}"/>
              </a:ext>
            </a:extLst>
          </p:cNvPr>
          <p:cNvSpPr/>
          <p:nvPr/>
        </p:nvSpPr>
        <p:spPr>
          <a:xfrm>
            <a:off x="4278677" y="2619189"/>
            <a:ext cx="1204358" cy="1205303"/>
          </a:xfrm>
          <a:custGeom>
            <a:avLst/>
            <a:gdLst>
              <a:gd name="connsiteX0" fmla="*/ 0 w 960856"/>
              <a:gd name="connsiteY0" fmla="*/ 268 h 961660"/>
              <a:gd name="connsiteX1" fmla="*/ 0 w 960856"/>
              <a:gd name="connsiteY1" fmla="*/ 961660 h 961660"/>
              <a:gd name="connsiteX2" fmla="*/ 480797 w 960856"/>
              <a:gd name="connsiteY2" fmla="*/ 961660 h 961660"/>
              <a:gd name="connsiteX3" fmla="*/ 60074 w 960856"/>
              <a:gd name="connsiteY3" fmla="*/ 540938 h 961660"/>
              <a:gd name="connsiteX4" fmla="*/ 480797 w 960856"/>
              <a:gd name="connsiteY4" fmla="*/ 119144 h 961660"/>
              <a:gd name="connsiteX5" fmla="*/ 960857 w 960856"/>
              <a:gd name="connsiteY5" fmla="*/ 119144 h 961660"/>
              <a:gd name="connsiteX6" fmla="*/ 960857 w 960856"/>
              <a:gd name="connsiteY6" fmla="*/ 0 h 961660"/>
              <a:gd name="connsiteX7" fmla="*/ 0 w 960856"/>
              <a:gd name="connsiteY7" fmla="*/ 0 h 961660"/>
              <a:gd name="connsiteX8" fmla="*/ 0 w 960856"/>
              <a:gd name="connsiteY8" fmla="*/ 268 h 961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60856" h="961660">
                <a:moveTo>
                  <a:pt x="0" y="268"/>
                </a:moveTo>
                <a:lnTo>
                  <a:pt x="0" y="961660"/>
                </a:lnTo>
                <a:lnTo>
                  <a:pt x="480797" y="961660"/>
                </a:lnTo>
                <a:cubicBezTo>
                  <a:pt x="248535" y="961660"/>
                  <a:pt x="60074" y="773400"/>
                  <a:pt x="60074" y="540938"/>
                </a:cubicBezTo>
                <a:cubicBezTo>
                  <a:pt x="60074" y="308476"/>
                  <a:pt x="248335" y="119144"/>
                  <a:pt x="480797" y="119144"/>
                </a:cubicBezTo>
                <a:lnTo>
                  <a:pt x="960857" y="119144"/>
                </a:lnTo>
                <a:lnTo>
                  <a:pt x="960857" y="0"/>
                </a:lnTo>
                <a:lnTo>
                  <a:pt x="0" y="0"/>
                </a:lnTo>
                <a:lnTo>
                  <a:pt x="0" y="268"/>
                </a:lnTo>
                <a:close/>
              </a:path>
            </a:pathLst>
          </a:custGeom>
          <a:solidFill>
            <a:srgbClr val="1F2A44"/>
          </a:solidFill>
          <a:ln w="6697" cap="flat">
            <a:noFill/>
            <a:prstDash val="solid"/>
            <a:miter/>
          </a:ln>
        </p:spPr>
        <p:txBody>
          <a:bodyPr rtlCol="0" anchor="ctr"/>
          <a:lstStyle/>
          <a:p>
            <a:endParaRPr lang="pt-BR" sz="2315"/>
          </a:p>
        </p:txBody>
      </p:sp>
      <p:sp>
        <p:nvSpPr>
          <p:cNvPr id="20" name="Forma Livre: Forma 19">
            <a:extLst>
              <a:ext uri="{FF2B5EF4-FFF2-40B4-BE49-F238E27FC236}">
                <a16:creationId xmlns:a16="http://schemas.microsoft.com/office/drawing/2014/main" id="{FAD8064E-981D-471A-BF25-24890818FA03}"/>
              </a:ext>
            </a:extLst>
          </p:cNvPr>
          <p:cNvSpPr/>
          <p:nvPr/>
        </p:nvSpPr>
        <p:spPr>
          <a:xfrm>
            <a:off x="4278677" y="3824491"/>
            <a:ext cx="1205113" cy="1210338"/>
          </a:xfrm>
          <a:custGeom>
            <a:avLst/>
            <a:gdLst>
              <a:gd name="connsiteX0" fmla="*/ 923486 w 961459"/>
              <a:gd name="connsiteY0" fmla="*/ 295082 h 965678"/>
              <a:gd name="connsiteX1" fmla="*/ 903126 w 961459"/>
              <a:gd name="connsiteY1" fmla="*/ 252889 h 965678"/>
              <a:gd name="connsiteX2" fmla="*/ 879016 w 961459"/>
              <a:gd name="connsiteY2" fmla="*/ 212973 h 965678"/>
              <a:gd name="connsiteX3" fmla="*/ 785790 w 961459"/>
              <a:gd name="connsiteY3" fmla="*/ 110304 h 965678"/>
              <a:gd name="connsiteX4" fmla="*/ 729064 w 961459"/>
              <a:gd name="connsiteY4" fmla="*/ 69853 h 965678"/>
              <a:gd name="connsiteX5" fmla="*/ 688144 w 961459"/>
              <a:gd name="connsiteY5" fmla="*/ 47484 h 965678"/>
              <a:gd name="connsiteX6" fmla="*/ 552324 w 961459"/>
              <a:gd name="connsiteY6" fmla="*/ 5492 h 965678"/>
              <a:gd name="connsiteX7" fmla="*/ 478721 w 961459"/>
              <a:gd name="connsiteY7" fmla="*/ 0 h 965678"/>
              <a:gd name="connsiteX8" fmla="*/ 0 w 961459"/>
              <a:gd name="connsiteY8" fmla="*/ 0 h 965678"/>
              <a:gd name="connsiteX9" fmla="*/ 0 w 961459"/>
              <a:gd name="connsiteY9" fmla="*/ 965679 h 965678"/>
              <a:gd name="connsiteX10" fmla="*/ 478520 w 961459"/>
              <a:gd name="connsiteY10" fmla="*/ 965679 h 965678"/>
              <a:gd name="connsiteX11" fmla="*/ 961459 w 961459"/>
              <a:gd name="connsiteY11" fmla="*/ 482739 h 965678"/>
              <a:gd name="connsiteX12" fmla="*/ 946190 w 961459"/>
              <a:gd name="connsiteY12" fmla="*/ 361988 h 965678"/>
              <a:gd name="connsiteX13" fmla="*/ 923486 w 961459"/>
              <a:gd name="connsiteY13" fmla="*/ 295082 h 965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61459" h="965678">
                <a:moveTo>
                  <a:pt x="923486" y="295082"/>
                </a:moveTo>
                <a:cubicBezTo>
                  <a:pt x="917458" y="280750"/>
                  <a:pt x="910560" y="266552"/>
                  <a:pt x="903126" y="252889"/>
                </a:cubicBezTo>
                <a:cubicBezTo>
                  <a:pt x="895692" y="239227"/>
                  <a:pt x="887723" y="225966"/>
                  <a:pt x="879016" y="212973"/>
                </a:cubicBezTo>
                <a:cubicBezTo>
                  <a:pt x="852964" y="174531"/>
                  <a:pt x="821554" y="139906"/>
                  <a:pt x="785790" y="110304"/>
                </a:cubicBezTo>
                <a:cubicBezTo>
                  <a:pt x="767909" y="95570"/>
                  <a:pt x="748888" y="82109"/>
                  <a:pt x="729064" y="69853"/>
                </a:cubicBezTo>
                <a:cubicBezTo>
                  <a:pt x="715737" y="61883"/>
                  <a:pt x="702141" y="54449"/>
                  <a:pt x="688144" y="47484"/>
                </a:cubicBezTo>
                <a:cubicBezTo>
                  <a:pt x="645951" y="27124"/>
                  <a:pt x="600209" y="12725"/>
                  <a:pt x="552324" y="5492"/>
                </a:cubicBezTo>
                <a:cubicBezTo>
                  <a:pt x="528414" y="1741"/>
                  <a:pt x="503768" y="0"/>
                  <a:pt x="478721" y="0"/>
                </a:cubicBezTo>
                <a:lnTo>
                  <a:pt x="0" y="0"/>
                </a:lnTo>
                <a:lnTo>
                  <a:pt x="0" y="965679"/>
                </a:lnTo>
                <a:lnTo>
                  <a:pt x="478520" y="965679"/>
                </a:lnTo>
                <a:cubicBezTo>
                  <a:pt x="745138" y="965679"/>
                  <a:pt x="961459" y="749558"/>
                  <a:pt x="961459" y="482739"/>
                </a:cubicBezTo>
                <a:cubicBezTo>
                  <a:pt x="961459" y="441082"/>
                  <a:pt x="956169" y="400630"/>
                  <a:pt x="946190" y="361988"/>
                </a:cubicBezTo>
                <a:cubicBezTo>
                  <a:pt x="940162" y="339217"/>
                  <a:pt x="932527" y="316714"/>
                  <a:pt x="923486" y="295082"/>
                </a:cubicBezTo>
                <a:close/>
              </a:path>
            </a:pathLst>
          </a:custGeom>
          <a:solidFill>
            <a:srgbClr val="63B1BC"/>
          </a:solidFill>
          <a:ln w="6697" cap="flat">
            <a:noFill/>
            <a:prstDash val="solid"/>
            <a:miter/>
          </a:ln>
        </p:spPr>
        <p:txBody>
          <a:bodyPr rtlCol="0" anchor="ctr"/>
          <a:lstStyle/>
          <a:p>
            <a:endParaRPr lang="pt-BR" sz="2315"/>
          </a:p>
        </p:txBody>
      </p:sp>
      <p:sp>
        <p:nvSpPr>
          <p:cNvPr id="21" name="Forma Livre: Forma 20">
            <a:extLst>
              <a:ext uri="{FF2B5EF4-FFF2-40B4-BE49-F238E27FC236}">
                <a16:creationId xmlns:a16="http://schemas.microsoft.com/office/drawing/2014/main" id="{AF457795-9BB9-4DF9-ACBB-08E00F616A69}"/>
              </a:ext>
            </a:extLst>
          </p:cNvPr>
          <p:cNvSpPr/>
          <p:nvPr/>
        </p:nvSpPr>
        <p:spPr>
          <a:xfrm>
            <a:off x="5483036" y="2619525"/>
            <a:ext cx="1209059" cy="1204966"/>
          </a:xfrm>
          <a:custGeom>
            <a:avLst/>
            <a:gdLst>
              <a:gd name="connsiteX0" fmla="*/ 480462 w 964607"/>
              <a:gd name="connsiteY0" fmla="*/ 119144 h 961392"/>
              <a:gd name="connsiteX1" fmla="*/ 901854 w 964607"/>
              <a:gd name="connsiteY1" fmla="*/ 540536 h 961392"/>
              <a:gd name="connsiteX2" fmla="*/ 499214 w 964607"/>
              <a:gd name="connsiteY2" fmla="*/ 961392 h 961392"/>
              <a:gd name="connsiteX3" fmla="*/ 964607 w 964607"/>
              <a:gd name="connsiteY3" fmla="*/ 961392 h 961392"/>
              <a:gd name="connsiteX4" fmla="*/ 964607 w 964607"/>
              <a:gd name="connsiteY4" fmla="*/ 0 h 961392"/>
              <a:gd name="connsiteX5" fmla="*/ 0 w 964607"/>
              <a:gd name="connsiteY5" fmla="*/ 0 h 961392"/>
              <a:gd name="connsiteX6" fmla="*/ 0 w 964607"/>
              <a:gd name="connsiteY6" fmla="*/ 119144 h 961392"/>
              <a:gd name="connsiteX7" fmla="*/ 480462 w 964607"/>
              <a:gd name="connsiteY7" fmla="*/ 119144 h 961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64607" h="961392">
                <a:moveTo>
                  <a:pt x="480462" y="119144"/>
                </a:moveTo>
                <a:cubicBezTo>
                  <a:pt x="713259" y="119144"/>
                  <a:pt x="901854" y="307806"/>
                  <a:pt x="901854" y="540536"/>
                </a:cubicBezTo>
                <a:cubicBezTo>
                  <a:pt x="901854" y="766904"/>
                  <a:pt x="723305" y="951682"/>
                  <a:pt x="499214" y="961392"/>
                </a:cubicBezTo>
                <a:lnTo>
                  <a:pt x="964607" y="961392"/>
                </a:lnTo>
                <a:lnTo>
                  <a:pt x="964607" y="0"/>
                </a:lnTo>
                <a:lnTo>
                  <a:pt x="0" y="0"/>
                </a:lnTo>
                <a:lnTo>
                  <a:pt x="0" y="119144"/>
                </a:lnTo>
                <a:lnTo>
                  <a:pt x="480462" y="119144"/>
                </a:lnTo>
                <a:close/>
              </a:path>
            </a:pathLst>
          </a:custGeom>
          <a:solidFill>
            <a:srgbClr val="63B1BC"/>
          </a:solidFill>
          <a:ln w="6697" cap="flat">
            <a:noFill/>
            <a:prstDash val="solid"/>
            <a:miter/>
          </a:ln>
        </p:spPr>
        <p:txBody>
          <a:bodyPr rtlCol="0" anchor="ctr"/>
          <a:lstStyle/>
          <a:p>
            <a:endParaRPr lang="pt-BR" sz="2315"/>
          </a:p>
        </p:txBody>
      </p:sp>
      <p:sp>
        <p:nvSpPr>
          <p:cNvPr id="22" name="Forma Livre: Forma 21">
            <a:extLst>
              <a:ext uri="{FF2B5EF4-FFF2-40B4-BE49-F238E27FC236}">
                <a16:creationId xmlns:a16="http://schemas.microsoft.com/office/drawing/2014/main" id="{CE42385F-AFB3-41AD-A90E-BDE38A0BDA7B}"/>
              </a:ext>
            </a:extLst>
          </p:cNvPr>
          <p:cNvSpPr/>
          <p:nvPr/>
        </p:nvSpPr>
        <p:spPr>
          <a:xfrm>
            <a:off x="5483036" y="2768938"/>
            <a:ext cx="1130402" cy="1056308"/>
          </a:xfrm>
          <a:custGeom>
            <a:avLst/>
            <a:gdLst>
              <a:gd name="connsiteX0" fmla="*/ 0 w 901853"/>
              <a:gd name="connsiteY0" fmla="*/ 842784 h 842783"/>
              <a:gd name="connsiteX1" fmla="*/ 480462 w 901853"/>
              <a:gd name="connsiteY1" fmla="*/ 842784 h 842783"/>
              <a:gd name="connsiteX2" fmla="*/ 901854 w 901853"/>
              <a:gd name="connsiteY2" fmla="*/ 421392 h 842783"/>
              <a:gd name="connsiteX3" fmla="*/ 480462 w 901853"/>
              <a:gd name="connsiteY3" fmla="*/ 0 h 842783"/>
              <a:gd name="connsiteX4" fmla="*/ 0 w 901853"/>
              <a:gd name="connsiteY4" fmla="*/ 0 h 842783"/>
              <a:gd name="connsiteX5" fmla="*/ 0 w 901853"/>
              <a:gd name="connsiteY5" fmla="*/ 842784 h 842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01853" h="842783">
                <a:moveTo>
                  <a:pt x="0" y="842784"/>
                </a:moveTo>
                <a:lnTo>
                  <a:pt x="480462" y="842784"/>
                </a:lnTo>
                <a:cubicBezTo>
                  <a:pt x="713259" y="842784"/>
                  <a:pt x="901854" y="654122"/>
                  <a:pt x="901854" y="421392"/>
                </a:cubicBezTo>
                <a:cubicBezTo>
                  <a:pt x="901854" y="188662"/>
                  <a:pt x="713192" y="0"/>
                  <a:pt x="480462" y="0"/>
                </a:cubicBezTo>
                <a:lnTo>
                  <a:pt x="0" y="0"/>
                </a:lnTo>
                <a:lnTo>
                  <a:pt x="0" y="842784"/>
                </a:lnTo>
                <a:close/>
              </a:path>
            </a:pathLst>
          </a:custGeom>
          <a:solidFill>
            <a:srgbClr val="1F2A44"/>
          </a:solidFill>
          <a:ln w="6697" cap="flat">
            <a:noFill/>
            <a:prstDash val="solid"/>
            <a:miter/>
          </a:ln>
        </p:spPr>
        <p:txBody>
          <a:bodyPr rtlCol="0" anchor="ctr"/>
          <a:lstStyle/>
          <a:p>
            <a:endParaRPr lang="pt-BR" sz="2315"/>
          </a:p>
        </p:txBody>
      </p:sp>
    </p:spTree>
    <p:extLst>
      <p:ext uri="{BB962C8B-B14F-4D97-AF65-F5344CB8AC3E}">
        <p14:creationId xmlns:p14="http://schemas.microsoft.com/office/powerpoint/2010/main" val="1928541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V2 Clar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áfico 9">
            <a:extLst>
              <a:ext uri="{FF2B5EF4-FFF2-40B4-BE49-F238E27FC236}">
                <a16:creationId xmlns:a16="http://schemas.microsoft.com/office/drawing/2014/main" id="{04024E9A-1262-48A1-A387-6005E4A2A176}"/>
              </a:ext>
            </a:extLst>
          </p:cNvPr>
          <p:cNvGrpSpPr/>
          <p:nvPr/>
        </p:nvGrpSpPr>
        <p:grpSpPr>
          <a:xfrm>
            <a:off x="0" y="0"/>
            <a:ext cx="13442950" cy="7561263"/>
            <a:chOff x="0" y="0"/>
            <a:chExt cx="12192000" cy="6858000"/>
          </a:xfrm>
        </p:grpSpPr>
        <p:sp>
          <p:nvSpPr>
            <p:cNvPr id="3" name="Forma Livre: Forma 2">
              <a:extLst>
                <a:ext uri="{FF2B5EF4-FFF2-40B4-BE49-F238E27FC236}">
                  <a16:creationId xmlns:a16="http://schemas.microsoft.com/office/drawing/2014/main" id="{E4CB4F5D-76BF-4BAA-A123-50A4EA5AE6F6}"/>
                </a:ext>
              </a:extLst>
            </p:cNvPr>
            <p:cNvSpPr/>
            <p:nvPr/>
          </p:nvSpPr>
          <p:spPr>
            <a:xfrm>
              <a:off x="0" y="0"/>
              <a:ext cx="340359" cy="1903729"/>
            </a:xfrm>
            <a:custGeom>
              <a:avLst/>
              <a:gdLst>
                <a:gd name="connsiteX0" fmla="*/ 288925 w 340359"/>
                <a:gd name="connsiteY0" fmla="*/ 0 h 1903729"/>
                <a:gd name="connsiteX1" fmla="*/ 0 w 340359"/>
                <a:gd name="connsiteY1" fmla="*/ 0 h 1903729"/>
                <a:gd name="connsiteX2" fmla="*/ 0 w 340359"/>
                <a:gd name="connsiteY2" fmla="*/ 1903730 h 1903729"/>
                <a:gd name="connsiteX3" fmla="*/ 340360 w 340359"/>
                <a:gd name="connsiteY3" fmla="*/ 544195 h 1903729"/>
                <a:gd name="connsiteX4" fmla="*/ 288925 w 340359"/>
                <a:gd name="connsiteY4" fmla="*/ 0 h 1903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0359" h="1903729">
                  <a:moveTo>
                    <a:pt x="288925" y="0"/>
                  </a:moveTo>
                  <a:lnTo>
                    <a:pt x="0" y="0"/>
                  </a:lnTo>
                  <a:lnTo>
                    <a:pt x="0" y="1903730"/>
                  </a:lnTo>
                  <a:cubicBezTo>
                    <a:pt x="217170" y="1498600"/>
                    <a:pt x="340360" y="1035685"/>
                    <a:pt x="340360" y="544195"/>
                  </a:cubicBezTo>
                  <a:cubicBezTo>
                    <a:pt x="340360" y="358140"/>
                    <a:pt x="322580" y="175895"/>
                    <a:pt x="288925" y="0"/>
                  </a:cubicBezTo>
                  <a:close/>
                </a:path>
              </a:pathLst>
            </a:custGeom>
            <a:solidFill>
              <a:srgbClr val="63B1BC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4" name="Forma Livre: Forma 3">
              <a:extLst>
                <a:ext uri="{FF2B5EF4-FFF2-40B4-BE49-F238E27FC236}">
                  <a16:creationId xmlns:a16="http://schemas.microsoft.com/office/drawing/2014/main" id="{7CAE5BB3-75AB-41BD-8B9D-0FDDD806B407}"/>
                </a:ext>
              </a:extLst>
            </p:cNvPr>
            <p:cNvSpPr/>
            <p:nvPr/>
          </p:nvSpPr>
          <p:spPr>
            <a:xfrm>
              <a:off x="6089015" y="0"/>
              <a:ext cx="4686935" cy="355600"/>
            </a:xfrm>
            <a:custGeom>
              <a:avLst/>
              <a:gdLst>
                <a:gd name="connsiteX0" fmla="*/ 0 w 4686935"/>
                <a:gd name="connsiteY0" fmla="*/ 0 h 355600"/>
                <a:gd name="connsiteX1" fmla="*/ 4686935 w 4686935"/>
                <a:gd name="connsiteY1" fmla="*/ 0 h 355600"/>
                <a:gd name="connsiteX2" fmla="*/ 4686935 w 4686935"/>
                <a:gd name="connsiteY2" fmla="*/ 355600 h 355600"/>
                <a:gd name="connsiteX3" fmla="*/ 0 w 4686935"/>
                <a:gd name="connsiteY3" fmla="*/ 355600 h 355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86935" h="355600">
                  <a:moveTo>
                    <a:pt x="0" y="0"/>
                  </a:moveTo>
                  <a:lnTo>
                    <a:pt x="4686935" y="0"/>
                  </a:lnTo>
                  <a:lnTo>
                    <a:pt x="4686935" y="355600"/>
                  </a:lnTo>
                  <a:lnTo>
                    <a:pt x="0" y="355600"/>
                  </a:lnTo>
                  <a:close/>
                </a:path>
              </a:pathLst>
            </a:custGeom>
            <a:solidFill>
              <a:schemeClr val="accent2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5" name="Forma Livre: Forma 4">
              <a:extLst>
                <a:ext uri="{FF2B5EF4-FFF2-40B4-BE49-F238E27FC236}">
                  <a16:creationId xmlns:a16="http://schemas.microsoft.com/office/drawing/2014/main" id="{AD88EE2C-D2C2-446D-87E7-98F5B90A14E5}"/>
                </a:ext>
              </a:extLst>
            </p:cNvPr>
            <p:cNvSpPr/>
            <p:nvPr/>
          </p:nvSpPr>
          <p:spPr>
            <a:xfrm>
              <a:off x="11851640" y="650875"/>
              <a:ext cx="340359" cy="2769234"/>
            </a:xfrm>
            <a:custGeom>
              <a:avLst/>
              <a:gdLst>
                <a:gd name="connsiteX0" fmla="*/ 0 w 340359"/>
                <a:gd name="connsiteY0" fmla="*/ 0 h 2769234"/>
                <a:gd name="connsiteX1" fmla="*/ 0 w 340359"/>
                <a:gd name="connsiteY1" fmla="*/ 2769235 h 2769234"/>
                <a:gd name="connsiteX2" fmla="*/ 340360 w 340359"/>
                <a:gd name="connsiteY2" fmla="*/ 2769235 h 2769234"/>
                <a:gd name="connsiteX3" fmla="*/ 340360 w 340359"/>
                <a:gd name="connsiteY3" fmla="*/ 1149350 h 2769234"/>
                <a:gd name="connsiteX4" fmla="*/ 0 w 340359"/>
                <a:gd name="connsiteY4" fmla="*/ 0 h 2769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0359" h="2769234">
                  <a:moveTo>
                    <a:pt x="0" y="0"/>
                  </a:moveTo>
                  <a:lnTo>
                    <a:pt x="0" y="2769235"/>
                  </a:lnTo>
                  <a:lnTo>
                    <a:pt x="340360" y="2769235"/>
                  </a:lnTo>
                  <a:lnTo>
                    <a:pt x="340360" y="1149350"/>
                  </a:lnTo>
                  <a:cubicBezTo>
                    <a:pt x="140970" y="809625"/>
                    <a:pt x="19685" y="417830"/>
                    <a:pt x="0" y="0"/>
                  </a:cubicBezTo>
                  <a:close/>
                </a:path>
              </a:pathLst>
            </a:custGeom>
            <a:solidFill>
              <a:srgbClr val="63B1BC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6" name="Forma Livre: Forma 5">
              <a:extLst>
                <a:ext uri="{FF2B5EF4-FFF2-40B4-BE49-F238E27FC236}">
                  <a16:creationId xmlns:a16="http://schemas.microsoft.com/office/drawing/2014/main" id="{26D1AE59-57CE-49FF-9DC8-1A3A5CB72D99}"/>
                </a:ext>
              </a:extLst>
            </p:cNvPr>
            <p:cNvSpPr/>
            <p:nvPr/>
          </p:nvSpPr>
          <p:spPr>
            <a:xfrm>
              <a:off x="11848465" y="0"/>
              <a:ext cx="343534" cy="1800225"/>
            </a:xfrm>
            <a:custGeom>
              <a:avLst/>
              <a:gdLst>
                <a:gd name="connsiteX0" fmla="*/ 343535 w 343534"/>
                <a:gd name="connsiteY0" fmla="*/ 1800225 h 1800225"/>
                <a:gd name="connsiteX1" fmla="*/ 343535 w 343534"/>
                <a:gd name="connsiteY1" fmla="*/ 0 h 1800225"/>
                <a:gd name="connsiteX2" fmla="*/ 0 w 343534"/>
                <a:gd name="connsiteY2" fmla="*/ 0 h 1800225"/>
                <a:gd name="connsiteX3" fmla="*/ 0 w 343534"/>
                <a:gd name="connsiteY3" fmla="*/ 531495 h 1800225"/>
                <a:gd name="connsiteX4" fmla="*/ 2540 w 343534"/>
                <a:gd name="connsiteY4" fmla="*/ 650875 h 1800225"/>
                <a:gd name="connsiteX5" fmla="*/ 2540 w 343534"/>
                <a:gd name="connsiteY5" fmla="*/ 643255 h 1800225"/>
                <a:gd name="connsiteX6" fmla="*/ 343535 w 343534"/>
                <a:gd name="connsiteY6" fmla="*/ 1800225 h 180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3534" h="1800225">
                  <a:moveTo>
                    <a:pt x="343535" y="1800225"/>
                  </a:moveTo>
                  <a:lnTo>
                    <a:pt x="343535" y="0"/>
                  </a:lnTo>
                  <a:lnTo>
                    <a:pt x="0" y="0"/>
                  </a:lnTo>
                  <a:lnTo>
                    <a:pt x="0" y="531495"/>
                  </a:lnTo>
                  <a:cubicBezTo>
                    <a:pt x="0" y="571500"/>
                    <a:pt x="1270" y="611505"/>
                    <a:pt x="2540" y="650875"/>
                  </a:cubicBezTo>
                  <a:lnTo>
                    <a:pt x="2540" y="643255"/>
                  </a:lnTo>
                  <a:cubicBezTo>
                    <a:pt x="21590" y="1064260"/>
                    <a:pt x="143510" y="1457960"/>
                    <a:pt x="343535" y="1800225"/>
                  </a:cubicBezTo>
                  <a:close/>
                </a:path>
              </a:pathLst>
            </a:custGeom>
            <a:solidFill>
              <a:schemeClr val="accent2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 dirty="0"/>
            </a:p>
          </p:txBody>
        </p:sp>
        <p:sp>
          <p:nvSpPr>
            <p:cNvPr id="7" name="Forma Livre: Forma 6">
              <a:extLst>
                <a:ext uri="{FF2B5EF4-FFF2-40B4-BE49-F238E27FC236}">
                  <a16:creationId xmlns:a16="http://schemas.microsoft.com/office/drawing/2014/main" id="{0368425D-9A9D-4C26-B0E8-8E0DA2D16331}"/>
                </a:ext>
              </a:extLst>
            </p:cNvPr>
            <p:cNvSpPr/>
            <p:nvPr/>
          </p:nvSpPr>
          <p:spPr>
            <a:xfrm>
              <a:off x="11851640" y="643890"/>
              <a:ext cx="340359" cy="1156334"/>
            </a:xfrm>
            <a:custGeom>
              <a:avLst/>
              <a:gdLst>
                <a:gd name="connsiteX0" fmla="*/ 340360 w 340359"/>
                <a:gd name="connsiteY0" fmla="*/ 1156335 h 1156334"/>
                <a:gd name="connsiteX1" fmla="*/ 0 w 340359"/>
                <a:gd name="connsiteY1" fmla="*/ 0 h 1156334"/>
                <a:gd name="connsiteX2" fmla="*/ 0 w 340359"/>
                <a:gd name="connsiteY2" fmla="*/ 7620 h 1156334"/>
                <a:gd name="connsiteX3" fmla="*/ 340360 w 340359"/>
                <a:gd name="connsiteY3" fmla="*/ 1156335 h 1156334"/>
                <a:gd name="connsiteX4" fmla="*/ 340360 w 340359"/>
                <a:gd name="connsiteY4" fmla="*/ 1156335 h 1156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0359" h="1156334">
                  <a:moveTo>
                    <a:pt x="340360" y="1156335"/>
                  </a:moveTo>
                  <a:cubicBezTo>
                    <a:pt x="140335" y="814070"/>
                    <a:pt x="18415" y="420370"/>
                    <a:pt x="0" y="0"/>
                  </a:cubicBezTo>
                  <a:lnTo>
                    <a:pt x="0" y="7620"/>
                  </a:lnTo>
                  <a:cubicBezTo>
                    <a:pt x="19685" y="424815"/>
                    <a:pt x="140970" y="816610"/>
                    <a:pt x="340360" y="1156335"/>
                  </a:cubicBezTo>
                  <a:lnTo>
                    <a:pt x="340360" y="1156335"/>
                  </a:lnTo>
                  <a:close/>
                </a:path>
              </a:pathLst>
            </a:custGeom>
            <a:solidFill>
              <a:srgbClr val="1F2A44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8" name="Forma Livre: Forma 7">
              <a:extLst>
                <a:ext uri="{FF2B5EF4-FFF2-40B4-BE49-F238E27FC236}">
                  <a16:creationId xmlns:a16="http://schemas.microsoft.com/office/drawing/2014/main" id="{28108017-2118-4681-94C8-669A785576FB}"/>
                </a:ext>
              </a:extLst>
            </p:cNvPr>
            <p:cNvSpPr/>
            <p:nvPr/>
          </p:nvSpPr>
          <p:spPr>
            <a:xfrm>
              <a:off x="11851640" y="4954270"/>
              <a:ext cx="340359" cy="1903729"/>
            </a:xfrm>
            <a:custGeom>
              <a:avLst/>
              <a:gdLst>
                <a:gd name="connsiteX0" fmla="*/ 51435 w 340359"/>
                <a:gd name="connsiteY0" fmla="*/ 1903730 h 1903729"/>
                <a:gd name="connsiteX1" fmla="*/ 340360 w 340359"/>
                <a:gd name="connsiteY1" fmla="*/ 1903730 h 1903729"/>
                <a:gd name="connsiteX2" fmla="*/ 340360 w 340359"/>
                <a:gd name="connsiteY2" fmla="*/ 0 h 1903729"/>
                <a:gd name="connsiteX3" fmla="*/ 0 w 340359"/>
                <a:gd name="connsiteY3" fmla="*/ 1360170 h 1903729"/>
                <a:gd name="connsiteX4" fmla="*/ 51435 w 340359"/>
                <a:gd name="connsiteY4" fmla="*/ 1903730 h 1903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0359" h="1903729">
                  <a:moveTo>
                    <a:pt x="51435" y="1903730"/>
                  </a:moveTo>
                  <a:lnTo>
                    <a:pt x="340360" y="1903730"/>
                  </a:lnTo>
                  <a:lnTo>
                    <a:pt x="340360" y="0"/>
                  </a:lnTo>
                  <a:cubicBezTo>
                    <a:pt x="123190" y="405130"/>
                    <a:pt x="0" y="868045"/>
                    <a:pt x="0" y="1360170"/>
                  </a:cubicBezTo>
                  <a:cubicBezTo>
                    <a:pt x="0" y="1545590"/>
                    <a:pt x="17780" y="1727835"/>
                    <a:pt x="51435" y="1903730"/>
                  </a:cubicBezTo>
                  <a:close/>
                </a:path>
              </a:pathLst>
            </a:custGeom>
            <a:solidFill>
              <a:srgbClr val="63B1BC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11" name="Forma Livre: Forma 10">
              <a:extLst>
                <a:ext uri="{FF2B5EF4-FFF2-40B4-BE49-F238E27FC236}">
                  <a16:creationId xmlns:a16="http://schemas.microsoft.com/office/drawing/2014/main" id="{44A1E025-DB4A-4BFA-AADA-BBFCE91CDE51}"/>
                </a:ext>
              </a:extLst>
            </p:cNvPr>
            <p:cNvSpPr/>
            <p:nvPr/>
          </p:nvSpPr>
          <p:spPr>
            <a:xfrm>
              <a:off x="1416050" y="6502400"/>
              <a:ext cx="4686935" cy="355600"/>
            </a:xfrm>
            <a:custGeom>
              <a:avLst/>
              <a:gdLst>
                <a:gd name="connsiteX0" fmla="*/ 0 w 4686935"/>
                <a:gd name="connsiteY0" fmla="*/ 0 h 355600"/>
                <a:gd name="connsiteX1" fmla="*/ 4686935 w 4686935"/>
                <a:gd name="connsiteY1" fmla="*/ 0 h 355600"/>
                <a:gd name="connsiteX2" fmla="*/ 4686935 w 4686935"/>
                <a:gd name="connsiteY2" fmla="*/ 355600 h 355600"/>
                <a:gd name="connsiteX3" fmla="*/ 0 w 4686935"/>
                <a:gd name="connsiteY3" fmla="*/ 355600 h 355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86935" h="355600">
                  <a:moveTo>
                    <a:pt x="0" y="0"/>
                  </a:moveTo>
                  <a:lnTo>
                    <a:pt x="4686935" y="0"/>
                  </a:lnTo>
                  <a:lnTo>
                    <a:pt x="4686935" y="355600"/>
                  </a:lnTo>
                  <a:lnTo>
                    <a:pt x="0" y="355600"/>
                  </a:lnTo>
                  <a:close/>
                </a:path>
              </a:pathLst>
            </a:custGeom>
            <a:solidFill>
              <a:schemeClr val="accent2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12" name="Forma Livre: Forma 11">
              <a:extLst>
                <a:ext uri="{FF2B5EF4-FFF2-40B4-BE49-F238E27FC236}">
                  <a16:creationId xmlns:a16="http://schemas.microsoft.com/office/drawing/2014/main" id="{326037A0-471C-4A9B-A856-0255C5C642F9}"/>
                </a:ext>
              </a:extLst>
            </p:cNvPr>
            <p:cNvSpPr/>
            <p:nvPr/>
          </p:nvSpPr>
          <p:spPr>
            <a:xfrm>
              <a:off x="0" y="3437890"/>
              <a:ext cx="340359" cy="2769234"/>
            </a:xfrm>
            <a:custGeom>
              <a:avLst/>
              <a:gdLst>
                <a:gd name="connsiteX0" fmla="*/ 340360 w 340359"/>
                <a:gd name="connsiteY0" fmla="*/ 2769235 h 2769234"/>
                <a:gd name="connsiteX1" fmla="*/ 340360 w 340359"/>
                <a:gd name="connsiteY1" fmla="*/ 0 h 2769234"/>
                <a:gd name="connsiteX2" fmla="*/ 0 w 340359"/>
                <a:gd name="connsiteY2" fmla="*/ 0 h 2769234"/>
                <a:gd name="connsiteX3" fmla="*/ 0 w 340359"/>
                <a:gd name="connsiteY3" fmla="*/ 1619885 h 2769234"/>
                <a:gd name="connsiteX4" fmla="*/ 340360 w 340359"/>
                <a:gd name="connsiteY4" fmla="*/ 2769235 h 2769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0359" h="2769234">
                  <a:moveTo>
                    <a:pt x="340360" y="2769235"/>
                  </a:moveTo>
                  <a:lnTo>
                    <a:pt x="340360" y="0"/>
                  </a:lnTo>
                  <a:lnTo>
                    <a:pt x="0" y="0"/>
                  </a:lnTo>
                  <a:lnTo>
                    <a:pt x="0" y="1619885"/>
                  </a:lnTo>
                  <a:cubicBezTo>
                    <a:pt x="199390" y="1959610"/>
                    <a:pt x="320675" y="2351405"/>
                    <a:pt x="340360" y="2769235"/>
                  </a:cubicBezTo>
                  <a:close/>
                </a:path>
              </a:pathLst>
            </a:custGeom>
            <a:solidFill>
              <a:srgbClr val="63B1BC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13" name="Forma Livre: Forma 12">
              <a:extLst>
                <a:ext uri="{FF2B5EF4-FFF2-40B4-BE49-F238E27FC236}">
                  <a16:creationId xmlns:a16="http://schemas.microsoft.com/office/drawing/2014/main" id="{BFB4436F-D9D5-4AAF-A798-53F32CA8FC65}"/>
                </a:ext>
              </a:extLst>
            </p:cNvPr>
            <p:cNvSpPr/>
            <p:nvPr/>
          </p:nvSpPr>
          <p:spPr>
            <a:xfrm>
              <a:off x="0" y="5057775"/>
              <a:ext cx="343534" cy="1800225"/>
            </a:xfrm>
            <a:custGeom>
              <a:avLst/>
              <a:gdLst>
                <a:gd name="connsiteX0" fmla="*/ 0 w 343534"/>
                <a:gd name="connsiteY0" fmla="*/ 0 h 1800225"/>
                <a:gd name="connsiteX1" fmla="*/ 0 w 343534"/>
                <a:gd name="connsiteY1" fmla="*/ 1800225 h 1800225"/>
                <a:gd name="connsiteX2" fmla="*/ 343535 w 343534"/>
                <a:gd name="connsiteY2" fmla="*/ 1800225 h 1800225"/>
                <a:gd name="connsiteX3" fmla="*/ 343535 w 343534"/>
                <a:gd name="connsiteY3" fmla="*/ 1268730 h 1800225"/>
                <a:gd name="connsiteX4" fmla="*/ 340995 w 343534"/>
                <a:gd name="connsiteY4" fmla="*/ 1149350 h 1800225"/>
                <a:gd name="connsiteX5" fmla="*/ 340995 w 343534"/>
                <a:gd name="connsiteY5" fmla="*/ 1156970 h 1800225"/>
                <a:gd name="connsiteX6" fmla="*/ 0 w 343534"/>
                <a:gd name="connsiteY6" fmla="*/ 0 h 180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3534" h="1800225">
                  <a:moveTo>
                    <a:pt x="0" y="0"/>
                  </a:moveTo>
                  <a:lnTo>
                    <a:pt x="0" y="1800225"/>
                  </a:lnTo>
                  <a:lnTo>
                    <a:pt x="343535" y="1800225"/>
                  </a:lnTo>
                  <a:lnTo>
                    <a:pt x="343535" y="1268730"/>
                  </a:lnTo>
                  <a:cubicBezTo>
                    <a:pt x="343535" y="1228725"/>
                    <a:pt x="342265" y="1188720"/>
                    <a:pt x="340995" y="1149350"/>
                  </a:cubicBezTo>
                  <a:lnTo>
                    <a:pt x="340995" y="1156970"/>
                  </a:lnTo>
                  <a:cubicBezTo>
                    <a:pt x="321945" y="735965"/>
                    <a:pt x="200025" y="342265"/>
                    <a:pt x="0" y="0"/>
                  </a:cubicBezTo>
                  <a:close/>
                </a:path>
              </a:pathLst>
            </a:custGeom>
            <a:solidFill>
              <a:schemeClr val="accent2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14" name="Forma Livre: Forma 13">
              <a:extLst>
                <a:ext uri="{FF2B5EF4-FFF2-40B4-BE49-F238E27FC236}">
                  <a16:creationId xmlns:a16="http://schemas.microsoft.com/office/drawing/2014/main" id="{2BC87CB6-AD7D-4CFE-82D0-139A1EC3C079}"/>
                </a:ext>
              </a:extLst>
            </p:cNvPr>
            <p:cNvSpPr/>
            <p:nvPr/>
          </p:nvSpPr>
          <p:spPr>
            <a:xfrm>
              <a:off x="0" y="5057775"/>
              <a:ext cx="340359" cy="1156970"/>
            </a:xfrm>
            <a:custGeom>
              <a:avLst/>
              <a:gdLst>
                <a:gd name="connsiteX0" fmla="*/ 340360 w 340359"/>
                <a:gd name="connsiteY0" fmla="*/ 1156970 h 1156970"/>
                <a:gd name="connsiteX1" fmla="*/ 340360 w 340359"/>
                <a:gd name="connsiteY1" fmla="*/ 1149350 h 1156970"/>
                <a:gd name="connsiteX2" fmla="*/ 0 w 340359"/>
                <a:gd name="connsiteY2" fmla="*/ 0 h 1156970"/>
                <a:gd name="connsiteX3" fmla="*/ 0 w 340359"/>
                <a:gd name="connsiteY3" fmla="*/ 635 h 1156970"/>
                <a:gd name="connsiteX4" fmla="*/ 340360 w 340359"/>
                <a:gd name="connsiteY4" fmla="*/ 1156970 h 1156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0359" h="1156970">
                  <a:moveTo>
                    <a:pt x="340360" y="1156970"/>
                  </a:moveTo>
                  <a:lnTo>
                    <a:pt x="340360" y="1149350"/>
                  </a:lnTo>
                  <a:cubicBezTo>
                    <a:pt x="320675" y="731520"/>
                    <a:pt x="199390" y="339725"/>
                    <a:pt x="0" y="0"/>
                  </a:cubicBezTo>
                  <a:lnTo>
                    <a:pt x="0" y="635"/>
                  </a:lnTo>
                  <a:cubicBezTo>
                    <a:pt x="200025" y="342265"/>
                    <a:pt x="321945" y="735965"/>
                    <a:pt x="340360" y="1156970"/>
                  </a:cubicBezTo>
                  <a:close/>
                </a:path>
              </a:pathLst>
            </a:custGeom>
            <a:solidFill>
              <a:srgbClr val="1F2A44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</p:grpSp>
      <p:grpSp>
        <p:nvGrpSpPr>
          <p:cNvPr id="15" name="Gráfico 3">
            <a:extLst>
              <a:ext uri="{FF2B5EF4-FFF2-40B4-BE49-F238E27FC236}">
                <a16:creationId xmlns:a16="http://schemas.microsoft.com/office/drawing/2014/main" id="{0BCF444B-BA8B-46C4-9AA9-2A6635B7FB6C}"/>
              </a:ext>
            </a:extLst>
          </p:cNvPr>
          <p:cNvGrpSpPr/>
          <p:nvPr userDrawn="1"/>
        </p:nvGrpSpPr>
        <p:grpSpPr>
          <a:xfrm>
            <a:off x="4278677" y="2526182"/>
            <a:ext cx="4885597" cy="2508899"/>
            <a:chOff x="4147095" y="2428093"/>
            <a:chExt cx="3897808" cy="2001745"/>
          </a:xfrm>
        </p:grpSpPr>
        <p:grpSp>
          <p:nvGrpSpPr>
            <p:cNvPr id="16" name="Gráfico 3">
              <a:extLst>
                <a:ext uri="{FF2B5EF4-FFF2-40B4-BE49-F238E27FC236}">
                  <a16:creationId xmlns:a16="http://schemas.microsoft.com/office/drawing/2014/main" id="{05F88E5B-B22C-4AA3-A56A-ACBED8EF5E55}"/>
                </a:ext>
              </a:extLst>
            </p:cNvPr>
            <p:cNvGrpSpPr/>
            <p:nvPr/>
          </p:nvGrpSpPr>
          <p:grpSpPr>
            <a:xfrm>
              <a:off x="6368511" y="2428093"/>
              <a:ext cx="1676392" cy="2000942"/>
              <a:chOff x="6368511" y="2428093"/>
              <a:chExt cx="1676392" cy="2000942"/>
            </a:xfrm>
            <a:solidFill>
              <a:srgbClr val="1F2A44"/>
            </a:solidFill>
          </p:grpSpPr>
          <p:sp>
            <p:nvSpPr>
              <p:cNvPr id="25" name="Forma Livre: Forma 24">
                <a:extLst>
                  <a:ext uri="{FF2B5EF4-FFF2-40B4-BE49-F238E27FC236}">
                    <a16:creationId xmlns:a16="http://schemas.microsoft.com/office/drawing/2014/main" id="{9EA12EE1-6D23-48A0-B263-90818A9BD6DF}"/>
                  </a:ext>
                </a:extLst>
              </p:cNvPr>
              <p:cNvSpPr/>
              <p:nvPr/>
            </p:nvSpPr>
            <p:spPr>
              <a:xfrm>
                <a:off x="6368511" y="2502768"/>
                <a:ext cx="224090" cy="367746"/>
              </a:xfrm>
              <a:custGeom>
                <a:avLst/>
                <a:gdLst>
                  <a:gd name="connsiteX0" fmla="*/ 0 w 224090"/>
                  <a:gd name="connsiteY0" fmla="*/ 256907 h 367746"/>
                  <a:gd name="connsiteX1" fmla="*/ 40451 w 224090"/>
                  <a:gd name="connsiteY1" fmla="*/ 256907 h 367746"/>
                  <a:gd name="connsiteX2" fmla="*/ 115997 w 224090"/>
                  <a:gd name="connsiteY2" fmla="*/ 328903 h 367746"/>
                  <a:gd name="connsiteX3" fmla="*/ 184443 w 224090"/>
                  <a:gd name="connsiteY3" fmla="*/ 272177 h 367746"/>
                  <a:gd name="connsiteX4" fmla="*/ 126645 w 224090"/>
                  <a:gd name="connsiteY4" fmla="*/ 209423 h 367746"/>
                  <a:gd name="connsiteX5" fmla="*/ 81238 w 224090"/>
                  <a:gd name="connsiteY5" fmla="*/ 196632 h 367746"/>
                  <a:gd name="connsiteX6" fmla="*/ 6094 w 224090"/>
                  <a:gd name="connsiteY6" fmla="*/ 95034 h 367746"/>
                  <a:gd name="connsiteX7" fmla="*/ 111777 w 224090"/>
                  <a:gd name="connsiteY7" fmla="*/ 0 h 367746"/>
                  <a:gd name="connsiteX8" fmla="*/ 219536 w 224090"/>
                  <a:gd name="connsiteY8" fmla="*/ 95570 h 367746"/>
                  <a:gd name="connsiteX9" fmla="*/ 179085 w 224090"/>
                  <a:gd name="connsiteY9" fmla="*/ 95570 h 367746"/>
                  <a:gd name="connsiteX10" fmla="*/ 111710 w 224090"/>
                  <a:gd name="connsiteY10" fmla="*/ 38844 h 367746"/>
                  <a:gd name="connsiteX11" fmla="*/ 45742 w 224090"/>
                  <a:gd name="connsiteY11" fmla="*/ 95034 h 367746"/>
                  <a:gd name="connsiteX12" fmla="*/ 98919 w 224090"/>
                  <a:gd name="connsiteY12" fmla="*/ 158323 h 367746"/>
                  <a:gd name="connsiteX13" fmla="*/ 140777 w 224090"/>
                  <a:gd name="connsiteY13" fmla="*/ 170043 h 367746"/>
                  <a:gd name="connsiteX14" fmla="*/ 224091 w 224090"/>
                  <a:gd name="connsiteY14" fmla="*/ 272177 h 367746"/>
                  <a:gd name="connsiteX15" fmla="*/ 115796 w 224090"/>
                  <a:gd name="connsiteY15" fmla="*/ 367747 h 367746"/>
                  <a:gd name="connsiteX16" fmla="*/ 0 w 224090"/>
                  <a:gd name="connsiteY16" fmla="*/ 256907 h 367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24090" h="367746">
                    <a:moveTo>
                      <a:pt x="0" y="256907"/>
                    </a:moveTo>
                    <a:lnTo>
                      <a:pt x="40451" y="256907"/>
                    </a:lnTo>
                    <a:cubicBezTo>
                      <a:pt x="46680" y="302850"/>
                      <a:pt x="77688" y="328903"/>
                      <a:pt x="115997" y="328903"/>
                    </a:cubicBezTo>
                    <a:cubicBezTo>
                      <a:pt x="156448" y="328903"/>
                      <a:pt x="184443" y="309949"/>
                      <a:pt x="184443" y="272177"/>
                    </a:cubicBezTo>
                    <a:cubicBezTo>
                      <a:pt x="184443" y="239896"/>
                      <a:pt x="167097" y="220608"/>
                      <a:pt x="126645" y="209423"/>
                    </a:cubicBezTo>
                    <a:lnTo>
                      <a:pt x="81238" y="196632"/>
                    </a:lnTo>
                    <a:cubicBezTo>
                      <a:pt x="28062" y="181764"/>
                      <a:pt x="6094" y="138499"/>
                      <a:pt x="6094" y="95034"/>
                    </a:cubicBezTo>
                    <a:cubicBezTo>
                      <a:pt x="6094" y="33687"/>
                      <a:pt x="54650" y="0"/>
                      <a:pt x="111777" y="0"/>
                    </a:cubicBezTo>
                    <a:cubicBezTo>
                      <a:pt x="173660" y="0"/>
                      <a:pt x="211969" y="34759"/>
                      <a:pt x="219536" y="95570"/>
                    </a:cubicBezTo>
                    <a:lnTo>
                      <a:pt x="179085" y="95570"/>
                    </a:lnTo>
                    <a:cubicBezTo>
                      <a:pt x="171450" y="61347"/>
                      <a:pt x="150019" y="38844"/>
                      <a:pt x="111710" y="38844"/>
                    </a:cubicBezTo>
                    <a:cubicBezTo>
                      <a:pt x="68781" y="38844"/>
                      <a:pt x="45742" y="63825"/>
                      <a:pt x="45742" y="95034"/>
                    </a:cubicBezTo>
                    <a:cubicBezTo>
                      <a:pt x="45742" y="127650"/>
                      <a:pt x="62084" y="148210"/>
                      <a:pt x="98919" y="158323"/>
                    </a:cubicBezTo>
                    <a:lnTo>
                      <a:pt x="140777" y="170043"/>
                    </a:lnTo>
                    <a:cubicBezTo>
                      <a:pt x="191274" y="184376"/>
                      <a:pt x="224091" y="215451"/>
                      <a:pt x="224091" y="272177"/>
                    </a:cubicBezTo>
                    <a:cubicBezTo>
                      <a:pt x="224091" y="329439"/>
                      <a:pt x="187389" y="367747"/>
                      <a:pt x="115796" y="367747"/>
                    </a:cubicBezTo>
                    <a:cubicBezTo>
                      <a:pt x="51234" y="367881"/>
                      <a:pt x="5090" y="325353"/>
                      <a:pt x="0" y="256907"/>
                    </a:cubicBez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26" name="Forma Livre: Forma 25">
                <a:extLst>
                  <a:ext uri="{FF2B5EF4-FFF2-40B4-BE49-F238E27FC236}">
                    <a16:creationId xmlns:a16="http://schemas.microsoft.com/office/drawing/2014/main" id="{CAAADA23-3980-4072-B42D-9BD913FD8B97}"/>
                  </a:ext>
                </a:extLst>
              </p:cNvPr>
              <p:cNvSpPr/>
              <p:nvPr/>
            </p:nvSpPr>
            <p:spPr>
              <a:xfrm>
                <a:off x="6626423" y="2428093"/>
                <a:ext cx="274721" cy="437398"/>
              </a:xfrm>
              <a:custGeom>
                <a:avLst/>
                <a:gdLst>
                  <a:gd name="connsiteX0" fmla="*/ 202324 w 274721"/>
                  <a:gd name="connsiteY0" fmla="*/ 336672 h 437398"/>
                  <a:gd name="connsiteX1" fmla="*/ 72532 w 274721"/>
                  <a:gd name="connsiteY1" fmla="*/ 336672 h 437398"/>
                  <a:gd name="connsiteX2" fmla="*/ 39915 w 274721"/>
                  <a:gd name="connsiteY2" fmla="*/ 437398 h 437398"/>
                  <a:gd name="connsiteX3" fmla="*/ 0 w 274721"/>
                  <a:gd name="connsiteY3" fmla="*/ 437398 h 437398"/>
                  <a:gd name="connsiteX4" fmla="*/ 114858 w 274721"/>
                  <a:gd name="connsiteY4" fmla="*/ 79832 h 437398"/>
                  <a:gd name="connsiteX5" fmla="*/ 159864 w 274721"/>
                  <a:gd name="connsiteY5" fmla="*/ 79832 h 437398"/>
                  <a:gd name="connsiteX6" fmla="*/ 274722 w 274721"/>
                  <a:gd name="connsiteY6" fmla="*/ 437398 h 437398"/>
                  <a:gd name="connsiteX7" fmla="*/ 234806 w 274721"/>
                  <a:gd name="connsiteY7" fmla="*/ 437398 h 437398"/>
                  <a:gd name="connsiteX8" fmla="*/ 202324 w 274721"/>
                  <a:gd name="connsiteY8" fmla="*/ 336672 h 437398"/>
                  <a:gd name="connsiteX9" fmla="*/ 156917 w 274721"/>
                  <a:gd name="connsiteY9" fmla="*/ 58333 h 437398"/>
                  <a:gd name="connsiteX10" fmla="*/ 116466 w 274721"/>
                  <a:gd name="connsiteY10" fmla="*/ 29267 h 437398"/>
                  <a:gd name="connsiteX11" fmla="*/ 61883 w 274721"/>
                  <a:gd name="connsiteY11" fmla="*/ 58333 h 437398"/>
                  <a:gd name="connsiteX12" fmla="*/ 50162 w 274721"/>
                  <a:gd name="connsiteY12" fmla="*/ 36366 h 437398"/>
                  <a:gd name="connsiteX13" fmla="*/ 118073 w 274721"/>
                  <a:gd name="connsiteY13" fmla="*/ 0 h 437398"/>
                  <a:gd name="connsiteX14" fmla="*/ 158524 w 274721"/>
                  <a:gd name="connsiteY14" fmla="*/ 29066 h 437398"/>
                  <a:gd name="connsiteX15" fmla="*/ 213107 w 274721"/>
                  <a:gd name="connsiteY15" fmla="*/ 0 h 437398"/>
                  <a:gd name="connsiteX16" fmla="*/ 224827 w 274721"/>
                  <a:gd name="connsiteY16" fmla="*/ 21967 h 437398"/>
                  <a:gd name="connsiteX17" fmla="*/ 156917 w 274721"/>
                  <a:gd name="connsiteY17" fmla="*/ 58333 h 437398"/>
                  <a:gd name="connsiteX18" fmla="*/ 137428 w 274721"/>
                  <a:gd name="connsiteY18" fmla="*/ 134414 h 437398"/>
                  <a:gd name="connsiteX19" fmla="*/ 84252 w 274721"/>
                  <a:gd name="connsiteY19" fmla="*/ 300372 h 437398"/>
                  <a:gd name="connsiteX20" fmla="*/ 190470 w 274721"/>
                  <a:gd name="connsiteY20" fmla="*/ 300372 h 437398"/>
                  <a:gd name="connsiteX21" fmla="*/ 137428 w 274721"/>
                  <a:gd name="connsiteY21" fmla="*/ 134414 h 437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74721" h="437398">
                    <a:moveTo>
                      <a:pt x="202324" y="336672"/>
                    </a:moveTo>
                    <a:lnTo>
                      <a:pt x="72532" y="336672"/>
                    </a:lnTo>
                    <a:lnTo>
                      <a:pt x="39915" y="437398"/>
                    </a:lnTo>
                    <a:lnTo>
                      <a:pt x="0" y="437398"/>
                    </a:lnTo>
                    <a:lnTo>
                      <a:pt x="114858" y="79832"/>
                    </a:lnTo>
                    <a:lnTo>
                      <a:pt x="159864" y="79832"/>
                    </a:lnTo>
                    <a:lnTo>
                      <a:pt x="274722" y="437398"/>
                    </a:lnTo>
                    <a:lnTo>
                      <a:pt x="234806" y="437398"/>
                    </a:lnTo>
                    <a:lnTo>
                      <a:pt x="202324" y="336672"/>
                    </a:lnTo>
                    <a:close/>
                    <a:moveTo>
                      <a:pt x="156917" y="58333"/>
                    </a:moveTo>
                    <a:lnTo>
                      <a:pt x="116466" y="29267"/>
                    </a:lnTo>
                    <a:lnTo>
                      <a:pt x="61883" y="58333"/>
                    </a:lnTo>
                    <a:lnTo>
                      <a:pt x="50162" y="36366"/>
                    </a:lnTo>
                    <a:lnTo>
                      <a:pt x="118073" y="0"/>
                    </a:lnTo>
                    <a:lnTo>
                      <a:pt x="158524" y="29066"/>
                    </a:lnTo>
                    <a:lnTo>
                      <a:pt x="213107" y="0"/>
                    </a:lnTo>
                    <a:lnTo>
                      <a:pt x="224827" y="21967"/>
                    </a:lnTo>
                    <a:lnTo>
                      <a:pt x="156917" y="58333"/>
                    </a:lnTo>
                    <a:close/>
                    <a:moveTo>
                      <a:pt x="137428" y="134414"/>
                    </a:moveTo>
                    <a:lnTo>
                      <a:pt x="84252" y="300372"/>
                    </a:lnTo>
                    <a:lnTo>
                      <a:pt x="190470" y="300372"/>
                    </a:lnTo>
                    <a:lnTo>
                      <a:pt x="137428" y="134414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27" name="Forma Livre: Forma 26">
                <a:extLst>
                  <a:ext uri="{FF2B5EF4-FFF2-40B4-BE49-F238E27FC236}">
                    <a16:creationId xmlns:a16="http://schemas.microsoft.com/office/drawing/2014/main" id="{1616A99C-2010-4414-8833-E3BDD0FE5A5D}"/>
                  </a:ext>
                </a:extLst>
              </p:cNvPr>
              <p:cNvSpPr/>
              <p:nvPr/>
            </p:nvSpPr>
            <p:spPr>
              <a:xfrm>
                <a:off x="6928402" y="2502768"/>
                <a:ext cx="230787" cy="367880"/>
              </a:xfrm>
              <a:custGeom>
                <a:avLst/>
                <a:gdLst>
                  <a:gd name="connsiteX0" fmla="*/ 230788 w 230787"/>
                  <a:gd name="connsiteY0" fmla="*/ 246794 h 367880"/>
                  <a:gd name="connsiteX1" fmla="*/ 115394 w 230787"/>
                  <a:gd name="connsiteY1" fmla="*/ 367881 h 367880"/>
                  <a:gd name="connsiteX2" fmla="*/ 0 w 230787"/>
                  <a:gd name="connsiteY2" fmla="*/ 246794 h 367880"/>
                  <a:gd name="connsiteX3" fmla="*/ 0 w 230787"/>
                  <a:gd name="connsiteY3" fmla="*/ 121086 h 367880"/>
                  <a:gd name="connsiteX4" fmla="*/ 115394 w 230787"/>
                  <a:gd name="connsiteY4" fmla="*/ 0 h 367880"/>
                  <a:gd name="connsiteX5" fmla="*/ 230788 w 230787"/>
                  <a:gd name="connsiteY5" fmla="*/ 121086 h 367880"/>
                  <a:gd name="connsiteX6" fmla="*/ 230788 w 230787"/>
                  <a:gd name="connsiteY6" fmla="*/ 246794 h 367880"/>
                  <a:gd name="connsiteX7" fmla="*/ 191609 w 230787"/>
                  <a:gd name="connsiteY7" fmla="*/ 121086 h 367880"/>
                  <a:gd name="connsiteX8" fmla="*/ 115528 w 230787"/>
                  <a:gd name="connsiteY8" fmla="*/ 38844 h 367880"/>
                  <a:gd name="connsiteX9" fmla="*/ 39447 w 230787"/>
                  <a:gd name="connsiteY9" fmla="*/ 121086 h 367880"/>
                  <a:gd name="connsiteX10" fmla="*/ 39447 w 230787"/>
                  <a:gd name="connsiteY10" fmla="*/ 246794 h 367880"/>
                  <a:gd name="connsiteX11" fmla="*/ 115528 w 230787"/>
                  <a:gd name="connsiteY11" fmla="*/ 329037 h 367880"/>
                  <a:gd name="connsiteX12" fmla="*/ 191609 w 230787"/>
                  <a:gd name="connsiteY12" fmla="*/ 246794 h 367880"/>
                  <a:gd name="connsiteX13" fmla="*/ 191609 w 230787"/>
                  <a:gd name="connsiteY13" fmla="*/ 121086 h 36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30787" h="367880">
                    <a:moveTo>
                      <a:pt x="230788" y="246794"/>
                    </a:moveTo>
                    <a:cubicBezTo>
                      <a:pt x="230788" y="321937"/>
                      <a:pt x="183840" y="367881"/>
                      <a:pt x="115394" y="367881"/>
                    </a:cubicBezTo>
                    <a:cubicBezTo>
                      <a:pt x="46948" y="367881"/>
                      <a:pt x="0" y="321937"/>
                      <a:pt x="0" y="246794"/>
                    </a:cubicBezTo>
                    <a:lnTo>
                      <a:pt x="0" y="121086"/>
                    </a:lnTo>
                    <a:cubicBezTo>
                      <a:pt x="0" y="45943"/>
                      <a:pt x="46948" y="0"/>
                      <a:pt x="115394" y="0"/>
                    </a:cubicBezTo>
                    <a:cubicBezTo>
                      <a:pt x="183840" y="0"/>
                      <a:pt x="230788" y="45943"/>
                      <a:pt x="230788" y="121086"/>
                    </a:cubicBezTo>
                    <a:lnTo>
                      <a:pt x="230788" y="246794"/>
                    </a:lnTo>
                    <a:close/>
                    <a:moveTo>
                      <a:pt x="191609" y="121086"/>
                    </a:moveTo>
                    <a:cubicBezTo>
                      <a:pt x="191609" y="67039"/>
                      <a:pt x="157922" y="38844"/>
                      <a:pt x="115528" y="38844"/>
                    </a:cubicBezTo>
                    <a:cubicBezTo>
                      <a:pt x="73134" y="38844"/>
                      <a:pt x="39447" y="66839"/>
                      <a:pt x="39447" y="121086"/>
                    </a:cubicBezTo>
                    <a:lnTo>
                      <a:pt x="39447" y="246794"/>
                    </a:lnTo>
                    <a:cubicBezTo>
                      <a:pt x="39447" y="300841"/>
                      <a:pt x="73134" y="329037"/>
                      <a:pt x="115528" y="329037"/>
                    </a:cubicBezTo>
                    <a:cubicBezTo>
                      <a:pt x="157922" y="329037"/>
                      <a:pt x="191609" y="301042"/>
                      <a:pt x="191609" y="246794"/>
                    </a:cubicBezTo>
                    <a:lnTo>
                      <a:pt x="191609" y="121086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28" name="Forma Livre: Forma 27">
                <a:extLst>
                  <a:ext uri="{FF2B5EF4-FFF2-40B4-BE49-F238E27FC236}">
                    <a16:creationId xmlns:a16="http://schemas.microsoft.com/office/drawing/2014/main" id="{BF6D2973-62D2-4B68-98C3-32A908F831A0}"/>
                  </a:ext>
                </a:extLst>
              </p:cNvPr>
              <p:cNvSpPr/>
              <p:nvPr/>
            </p:nvSpPr>
            <p:spPr>
              <a:xfrm>
                <a:off x="6380834" y="3027364"/>
                <a:ext cx="230787" cy="357567"/>
              </a:xfrm>
              <a:custGeom>
                <a:avLst/>
                <a:gdLst>
                  <a:gd name="connsiteX0" fmla="*/ 115461 w 230787"/>
                  <a:gd name="connsiteY0" fmla="*/ 218599 h 357567"/>
                  <a:gd name="connsiteX1" fmla="*/ 39380 w 230787"/>
                  <a:gd name="connsiteY1" fmla="*/ 218599 h 357567"/>
                  <a:gd name="connsiteX2" fmla="*/ 39380 w 230787"/>
                  <a:gd name="connsiteY2" fmla="*/ 357567 h 357567"/>
                  <a:gd name="connsiteX3" fmla="*/ 0 w 230787"/>
                  <a:gd name="connsiteY3" fmla="*/ 357567 h 357567"/>
                  <a:gd name="connsiteX4" fmla="*/ 0 w 230787"/>
                  <a:gd name="connsiteY4" fmla="*/ 0 h 357567"/>
                  <a:gd name="connsiteX5" fmla="*/ 115394 w 230787"/>
                  <a:gd name="connsiteY5" fmla="*/ 0 h 357567"/>
                  <a:gd name="connsiteX6" fmla="*/ 230788 w 230787"/>
                  <a:gd name="connsiteY6" fmla="*/ 109366 h 357567"/>
                  <a:gd name="connsiteX7" fmla="*/ 115461 w 230787"/>
                  <a:gd name="connsiteY7" fmla="*/ 218599 h 357567"/>
                  <a:gd name="connsiteX8" fmla="*/ 115461 w 230787"/>
                  <a:gd name="connsiteY8" fmla="*/ 38844 h 357567"/>
                  <a:gd name="connsiteX9" fmla="*/ 39380 w 230787"/>
                  <a:gd name="connsiteY9" fmla="*/ 38844 h 357567"/>
                  <a:gd name="connsiteX10" fmla="*/ 39380 w 230787"/>
                  <a:gd name="connsiteY10" fmla="*/ 179755 h 357567"/>
                  <a:gd name="connsiteX11" fmla="*/ 115461 w 230787"/>
                  <a:gd name="connsiteY11" fmla="*/ 179755 h 357567"/>
                  <a:gd name="connsiteX12" fmla="*/ 190604 w 230787"/>
                  <a:gd name="connsiteY12" fmla="*/ 109165 h 357567"/>
                  <a:gd name="connsiteX13" fmla="*/ 115461 w 230787"/>
                  <a:gd name="connsiteY13" fmla="*/ 38844 h 357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30787" h="357567">
                    <a:moveTo>
                      <a:pt x="115461" y="218599"/>
                    </a:moveTo>
                    <a:lnTo>
                      <a:pt x="39380" y="218599"/>
                    </a:lnTo>
                    <a:lnTo>
                      <a:pt x="39380" y="357567"/>
                    </a:lnTo>
                    <a:lnTo>
                      <a:pt x="0" y="357567"/>
                    </a:lnTo>
                    <a:lnTo>
                      <a:pt x="0" y="0"/>
                    </a:lnTo>
                    <a:lnTo>
                      <a:pt x="115394" y="0"/>
                    </a:lnTo>
                    <a:cubicBezTo>
                      <a:pt x="198172" y="0"/>
                      <a:pt x="230788" y="45943"/>
                      <a:pt x="230788" y="109366"/>
                    </a:cubicBezTo>
                    <a:cubicBezTo>
                      <a:pt x="230922" y="172656"/>
                      <a:pt x="198105" y="218599"/>
                      <a:pt x="115461" y="218599"/>
                    </a:cubicBezTo>
                    <a:close/>
                    <a:moveTo>
                      <a:pt x="115461" y="38844"/>
                    </a:moveTo>
                    <a:lnTo>
                      <a:pt x="39380" y="38844"/>
                    </a:lnTo>
                    <a:lnTo>
                      <a:pt x="39380" y="179755"/>
                    </a:lnTo>
                    <a:lnTo>
                      <a:pt x="115461" y="179755"/>
                    </a:lnTo>
                    <a:cubicBezTo>
                      <a:pt x="170579" y="179755"/>
                      <a:pt x="190604" y="148010"/>
                      <a:pt x="190604" y="109165"/>
                    </a:cubicBezTo>
                    <a:cubicBezTo>
                      <a:pt x="190470" y="70522"/>
                      <a:pt x="170646" y="38844"/>
                      <a:pt x="115461" y="38844"/>
                    </a:cubicBez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29" name="Forma Livre: Forma 28">
                <a:extLst>
                  <a:ext uri="{FF2B5EF4-FFF2-40B4-BE49-F238E27FC236}">
                    <a16:creationId xmlns:a16="http://schemas.microsoft.com/office/drawing/2014/main" id="{B3CA6FAD-6233-421D-AFE5-FA78087F7246}"/>
                  </a:ext>
                </a:extLst>
              </p:cNvPr>
              <p:cNvSpPr/>
              <p:nvPr/>
            </p:nvSpPr>
            <p:spPr>
              <a:xfrm>
                <a:off x="6616310" y="3027432"/>
                <a:ext cx="274721" cy="357566"/>
              </a:xfrm>
              <a:custGeom>
                <a:avLst/>
                <a:gdLst>
                  <a:gd name="connsiteX0" fmla="*/ 202325 w 274721"/>
                  <a:gd name="connsiteY0" fmla="*/ 256840 h 357566"/>
                  <a:gd name="connsiteX1" fmla="*/ 72532 w 274721"/>
                  <a:gd name="connsiteY1" fmla="*/ 256840 h 357566"/>
                  <a:gd name="connsiteX2" fmla="*/ 39916 w 274721"/>
                  <a:gd name="connsiteY2" fmla="*/ 357567 h 357566"/>
                  <a:gd name="connsiteX3" fmla="*/ 0 w 274721"/>
                  <a:gd name="connsiteY3" fmla="*/ 357567 h 357566"/>
                  <a:gd name="connsiteX4" fmla="*/ 114858 w 274721"/>
                  <a:gd name="connsiteY4" fmla="*/ 0 h 357566"/>
                  <a:gd name="connsiteX5" fmla="*/ 159864 w 274721"/>
                  <a:gd name="connsiteY5" fmla="*/ 0 h 357566"/>
                  <a:gd name="connsiteX6" fmla="*/ 274722 w 274721"/>
                  <a:gd name="connsiteY6" fmla="*/ 357567 h 357566"/>
                  <a:gd name="connsiteX7" fmla="*/ 234806 w 274721"/>
                  <a:gd name="connsiteY7" fmla="*/ 357567 h 357566"/>
                  <a:gd name="connsiteX8" fmla="*/ 202325 w 274721"/>
                  <a:gd name="connsiteY8" fmla="*/ 256840 h 357566"/>
                  <a:gd name="connsiteX9" fmla="*/ 137428 w 274721"/>
                  <a:gd name="connsiteY9" fmla="*/ 54516 h 357566"/>
                  <a:gd name="connsiteX10" fmla="*/ 84252 w 274721"/>
                  <a:gd name="connsiteY10" fmla="*/ 220474 h 357566"/>
                  <a:gd name="connsiteX11" fmla="*/ 190470 w 274721"/>
                  <a:gd name="connsiteY11" fmla="*/ 220474 h 357566"/>
                  <a:gd name="connsiteX12" fmla="*/ 137428 w 274721"/>
                  <a:gd name="connsiteY12" fmla="*/ 54516 h 357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74721" h="357566">
                    <a:moveTo>
                      <a:pt x="202325" y="256840"/>
                    </a:moveTo>
                    <a:lnTo>
                      <a:pt x="72532" y="256840"/>
                    </a:lnTo>
                    <a:lnTo>
                      <a:pt x="39916" y="357567"/>
                    </a:lnTo>
                    <a:lnTo>
                      <a:pt x="0" y="357567"/>
                    </a:lnTo>
                    <a:lnTo>
                      <a:pt x="114858" y="0"/>
                    </a:lnTo>
                    <a:lnTo>
                      <a:pt x="159864" y="0"/>
                    </a:lnTo>
                    <a:lnTo>
                      <a:pt x="274722" y="357567"/>
                    </a:lnTo>
                    <a:lnTo>
                      <a:pt x="234806" y="357567"/>
                    </a:lnTo>
                    <a:lnTo>
                      <a:pt x="202325" y="256840"/>
                    </a:lnTo>
                    <a:close/>
                    <a:moveTo>
                      <a:pt x="137428" y="54516"/>
                    </a:moveTo>
                    <a:lnTo>
                      <a:pt x="84252" y="220474"/>
                    </a:lnTo>
                    <a:lnTo>
                      <a:pt x="190470" y="220474"/>
                    </a:lnTo>
                    <a:lnTo>
                      <a:pt x="137428" y="54516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30" name="Forma Livre: Forma 29">
                <a:extLst>
                  <a:ext uri="{FF2B5EF4-FFF2-40B4-BE49-F238E27FC236}">
                    <a16:creationId xmlns:a16="http://schemas.microsoft.com/office/drawing/2014/main" id="{2C102AA4-51F3-4455-AA36-07C49D2CBDE3}"/>
                  </a:ext>
                </a:extLst>
              </p:cNvPr>
              <p:cNvSpPr/>
              <p:nvPr/>
            </p:nvSpPr>
            <p:spPr>
              <a:xfrm>
                <a:off x="6918089" y="3027364"/>
                <a:ext cx="230921" cy="362723"/>
              </a:xfrm>
              <a:custGeom>
                <a:avLst/>
                <a:gdLst>
                  <a:gd name="connsiteX0" fmla="*/ 0 w 230921"/>
                  <a:gd name="connsiteY0" fmla="*/ 0 h 362723"/>
                  <a:gd name="connsiteX1" fmla="*/ 39380 w 230921"/>
                  <a:gd name="connsiteY1" fmla="*/ 0 h 362723"/>
                  <a:gd name="connsiteX2" fmla="*/ 39380 w 230921"/>
                  <a:gd name="connsiteY2" fmla="*/ 241637 h 362723"/>
                  <a:gd name="connsiteX3" fmla="*/ 115461 w 230921"/>
                  <a:gd name="connsiteY3" fmla="*/ 323880 h 362723"/>
                  <a:gd name="connsiteX4" fmla="*/ 191542 w 230921"/>
                  <a:gd name="connsiteY4" fmla="*/ 241637 h 362723"/>
                  <a:gd name="connsiteX5" fmla="*/ 191542 w 230921"/>
                  <a:gd name="connsiteY5" fmla="*/ 0 h 362723"/>
                  <a:gd name="connsiteX6" fmla="*/ 230922 w 230921"/>
                  <a:gd name="connsiteY6" fmla="*/ 0 h 362723"/>
                  <a:gd name="connsiteX7" fmla="*/ 230922 w 230921"/>
                  <a:gd name="connsiteY7" fmla="*/ 241637 h 362723"/>
                  <a:gd name="connsiteX8" fmla="*/ 115528 w 230921"/>
                  <a:gd name="connsiteY8" fmla="*/ 362724 h 362723"/>
                  <a:gd name="connsiteX9" fmla="*/ 134 w 230921"/>
                  <a:gd name="connsiteY9" fmla="*/ 241637 h 362723"/>
                  <a:gd name="connsiteX10" fmla="*/ 134 w 230921"/>
                  <a:gd name="connsiteY10" fmla="*/ 0 h 362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30921" h="362723">
                    <a:moveTo>
                      <a:pt x="0" y="0"/>
                    </a:moveTo>
                    <a:lnTo>
                      <a:pt x="39380" y="0"/>
                    </a:lnTo>
                    <a:lnTo>
                      <a:pt x="39380" y="241637"/>
                    </a:lnTo>
                    <a:cubicBezTo>
                      <a:pt x="39380" y="295684"/>
                      <a:pt x="73067" y="323880"/>
                      <a:pt x="115461" y="323880"/>
                    </a:cubicBezTo>
                    <a:cubicBezTo>
                      <a:pt x="157855" y="323880"/>
                      <a:pt x="191542" y="295885"/>
                      <a:pt x="191542" y="241637"/>
                    </a:cubicBezTo>
                    <a:lnTo>
                      <a:pt x="191542" y="0"/>
                    </a:lnTo>
                    <a:lnTo>
                      <a:pt x="230922" y="0"/>
                    </a:lnTo>
                    <a:lnTo>
                      <a:pt x="230922" y="241637"/>
                    </a:lnTo>
                    <a:cubicBezTo>
                      <a:pt x="230922" y="316781"/>
                      <a:pt x="183974" y="362724"/>
                      <a:pt x="115528" y="362724"/>
                    </a:cubicBezTo>
                    <a:cubicBezTo>
                      <a:pt x="47082" y="362724"/>
                      <a:pt x="134" y="316781"/>
                      <a:pt x="134" y="241637"/>
                    </a:cubicBezTo>
                    <a:lnTo>
                      <a:pt x="134" y="0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31" name="Forma Livre: Forma 30">
                <a:extLst>
                  <a:ext uri="{FF2B5EF4-FFF2-40B4-BE49-F238E27FC236}">
                    <a16:creationId xmlns:a16="http://schemas.microsoft.com/office/drawing/2014/main" id="{B7774022-B60C-48A5-9928-399BF9326EC5}"/>
                  </a:ext>
                </a:extLst>
              </p:cNvPr>
              <p:cNvSpPr/>
              <p:nvPr/>
            </p:nvSpPr>
            <p:spPr>
              <a:xfrm>
                <a:off x="7230784" y="3027364"/>
                <a:ext cx="203395" cy="357633"/>
              </a:xfrm>
              <a:custGeom>
                <a:avLst/>
                <a:gdLst>
                  <a:gd name="connsiteX0" fmla="*/ 0 w 203395"/>
                  <a:gd name="connsiteY0" fmla="*/ 0 h 357633"/>
                  <a:gd name="connsiteX1" fmla="*/ 39380 w 203395"/>
                  <a:gd name="connsiteY1" fmla="*/ 0 h 357633"/>
                  <a:gd name="connsiteX2" fmla="*/ 39380 w 203395"/>
                  <a:gd name="connsiteY2" fmla="*/ 318790 h 357633"/>
                  <a:gd name="connsiteX3" fmla="*/ 203396 w 203395"/>
                  <a:gd name="connsiteY3" fmla="*/ 318790 h 357633"/>
                  <a:gd name="connsiteX4" fmla="*/ 203396 w 203395"/>
                  <a:gd name="connsiteY4" fmla="*/ 357634 h 357633"/>
                  <a:gd name="connsiteX5" fmla="*/ 67 w 203395"/>
                  <a:gd name="connsiteY5" fmla="*/ 357634 h 357633"/>
                  <a:gd name="connsiteX6" fmla="*/ 67 w 203395"/>
                  <a:gd name="connsiteY6" fmla="*/ 0 h 357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3395" h="357633">
                    <a:moveTo>
                      <a:pt x="0" y="0"/>
                    </a:moveTo>
                    <a:lnTo>
                      <a:pt x="39380" y="0"/>
                    </a:lnTo>
                    <a:lnTo>
                      <a:pt x="39380" y="318790"/>
                    </a:lnTo>
                    <a:lnTo>
                      <a:pt x="203396" y="318790"/>
                    </a:lnTo>
                    <a:lnTo>
                      <a:pt x="203396" y="357634"/>
                    </a:lnTo>
                    <a:lnTo>
                      <a:pt x="67" y="357634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32" name="Forma Livre: Forma 31">
                <a:extLst>
                  <a:ext uri="{FF2B5EF4-FFF2-40B4-BE49-F238E27FC236}">
                    <a16:creationId xmlns:a16="http://schemas.microsoft.com/office/drawing/2014/main" id="{592653E1-9BD9-484B-9EAB-84CE8EE136F9}"/>
                  </a:ext>
                </a:extLst>
              </p:cNvPr>
              <p:cNvSpPr/>
              <p:nvPr/>
            </p:nvSpPr>
            <p:spPr>
              <a:xfrm>
                <a:off x="7477980" y="3023413"/>
                <a:ext cx="230787" cy="367880"/>
              </a:xfrm>
              <a:custGeom>
                <a:avLst/>
                <a:gdLst>
                  <a:gd name="connsiteX0" fmla="*/ 230788 w 230787"/>
                  <a:gd name="connsiteY0" fmla="*/ 246794 h 367880"/>
                  <a:gd name="connsiteX1" fmla="*/ 115394 w 230787"/>
                  <a:gd name="connsiteY1" fmla="*/ 367881 h 367880"/>
                  <a:gd name="connsiteX2" fmla="*/ 0 w 230787"/>
                  <a:gd name="connsiteY2" fmla="*/ 246794 h 367880"/>
                  <a:gd name="connsiteX3" fmla="*/ 0 w 230787"/>
                  <a:gd name="connsiteY3" fmla="*/ 121086 h 367880"/>
                  <a:gd name="connsiteX4" fmla="*/ 115394 w 230787"/>
                  <a:gd name="connsiteY4" fmla="*/ 0 h 367880"/>
                  <a:gd name="connsiteX5" fmla="*/ 230788 w 230787"/>
                  <a:gd name="connsiteY5" fmla="*/ 121086 h 367880"/>
                  <a:gd name="connsiteX6" fmla="*/ 230788 w 230787"/>
                  <a:gd name="connsiteY6" fmla="*/ 246794 h 367880"/>
                  <a:gd name="connsiteX7" fmla="*/ 191609 w 230787"/>
                  <a:gd name="connsiteY7" fmla="*/ 121287 h 367880"/>
                  <a:gd name="connsiteX8" fmla="*/ 115528 w 230787"/>
                  <a:gd name="connsiteY8" fmla="*/ 39045 h 367880"/>
                  <a:gd name="connsiteX9" fmla="*/ 39447 w 230787"/>
                  <a:gd name="connsiteY9" fmla="*/ 121287 h 367880"/>
                  <a:gd name="connsiteX10" fmla="*/ 39447 w 230787"/>
                  <a:gd name="connsiteY10" fmla="*/ 246995 h 367880"/>
                  <a:gd name="connsiteX11" fmla="*/ 115528 w 230787"/>
                  <a:gd name="connsiteY11" fmla="*/ 329238 h 367880"/>
                  <a:gd name="connsiteX12" fmla="*/ 191609 w 230787"/>
                  <a:gd name="connsiteY12" fmla="*/ 246995 h 367880"/>
                  <a:gd name="connsiteX13" fmla="*/ 191609 w 230787"/>
                  <a:gd name="connsiteY13" fmla="*/ 121287 h 36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30787" h="367880">
                    <a:moveTo>
                      <a:pt x="230788" y="246794"/>
                    </a:moveTo>
                    <a:cubicBezTo>
                      <a:pt x="230788" y="321938"/>
                      <a:pt x="183840" y="367881"/>
                      <a:pt x="115394" y="367881"/>
                    </a:cubicBezTo>
                    <a:cubicBezTo>
                      <a:pt x="46948" y="367881"/>
                      <a:pt x="0" y="321938"/>
                      <a:pt x="0" y="246794"/>
                    </a:cubicBezTo>
                    <a:lnTo>
                      <a:pt x="0" y="121086"/>
                    </a:lnTo>
                    <a:cubicBezTo>
                      <a:pt x="0" y="45943"/>
                      <a:pt x="46948" y="0"/>
                      <a:pt x="115394" y="0"/>
                    </a:cubicBezTo>
                    <a:cubicBezTo>
                      <a:pt x="183840" y="0"/>
                      <a:pt x="230788" y="45943"/>
                      <a:pt x="230788" y="121086"/>
                    </a:cubicBezTo>
                    <a:lnTo>
                      <a:pt x="230788" y="246794"/>
                    </a:lnTo>
                    <a:close/>
                    <a:moveTo>
                      <a:pt x="191609" y="121287"/>
                    </a:moveTo>
                    <a:cubicBezTo>
                      <a:pt x="191609" y="67241"/>
                      <a:pt x="157922" y="39045"/>
                      <a:pt x="115528" y="39045"/>
                    </a:cubicBezTo>
                    <a:cubicBezTo>
                      <a:pt x="73134" y="39045"/>
                      <a:pt x="39447" y="67040"/>
                      <a:pt x="39447" y="121287"/>
                    </a:cubicBezTo>
                    <a:lnTo>
                      <a:pt x="39447" y="246995"/>
                    </a:lnTo>
                    <a:cubicBezTo>
                      <a:pt x="39447" y="301042"/>
                      <a:pt x="73134" y="329238"/>
                      <a:pt x="115528" y="329238"/>
                    </a:cubicBezTo>
                    <a:cubicBezTo>
                      <a:pt x="157922" y="329238"/>
                      <a:pt x="191609" y="301243"/>
                      <a:pt x="191609" y="246995"/>
                    </a:cubicBezTo>
                    <a:lnTo>
                      <a:pt x="191609" y="121287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33" name="Forma Livre: Forma 32">
                <a:extLst>
                  <a:ext uri="{FF2B5EF4-FFF2-40B4-BE49-F238E27FC236}">
                    <a16:creationId xmlns:a16="http://schemas.microsoft.com/office/drawing/2014/main" id="{18A9F4C8-8C6F-4306-9715-9989749EECD0}"/>
                  </a:ext>
                </a:extLst>
              </p:cNvPr>
              <p:cNvSpPr/>
              <p:nvPr/>
            </p:nvSpPr>
            <p:spPr>
              <a:xfrm>
                <a:off x="6368511" y="3546805"/>
                <a:ext cx="230452" cy="357633"/>
              </a:xfrm>
              <a:custGeom>
                <a:avLst/>
                <a:gdLst>
                  <a:gd name="connsiteX0" fmla="*/ 0 w 230452"/>
                  <a:gd name="connsiteY0" fmla="*/ 38844 h 357633"/>
                  <a:gd name="connsiteX1" fmla="*/ 0 w 230452"/>
                  <a:gd name="connsiteY1" fmla="*/ 0 h 357633"/>
                  <a:gd name="connsiteX2" fmla="*/ 230453 w 230452"/>
                  <a:gd name="connsiteY2" fmla="*/ 0 h 357633"/>
                  <a:gd name="connsiteX3" fmla="*/ 230453 w 230452"/>
                  <a:gd name="connsiteY3" fmla="*/ 38844 h 357633"/>
                  <a:gd name="connsiteX4" fmla="*/ 134883 w 230452"/>
                  <a:gd name="connsiteY4" fmla="*/ 38844 h 357633"/>
                  <a:gd name="connsiteX5" fmla="*/ 134883 w 230452"/>
                  <a:gd name="connsiteY5" fmla="*/ 357634 h 357633"/>
                  <a:gd name="connsiteX6" fmla="*/ 95503 w 230452"/>
                  <a:gd name="connsiteY6" fmla="*/ 357634 h 357633"/>
                  <a:gd name="connsiteX7" fmla="*/ 95503 w 230452"/>
                  <a:gd name="connsiteY7" fmla="*/ 38844 h 357633"/>
                  <a:gd name="connsiteX8" fmla="*/ 0 w 230452"/>
                  <a:gd name="connsiteY8" fmla="*/ 38844 h 357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30452" h="357633">
                    <a:moveTo>
                      <a:pt x="0" y="38844"/>
                    </a:moveTo>
                    <a:lnTo>
                      <a:pt x="0" y="0"/>
                    </a:lnTo>
                    <a:lnTo>
                      <a:pt x="230453" y="0"/>
                    </a:lnTo>
                    <a:lnTo>
                      <a:pt x="230453" y="38844"/>
                    </a:lnTo>
                    <a:lnTo>
                      <a:pt x="134883" y="38844"/>
                    </a:lnTo>
                    <a:lnTo>
                      <a:pt x="134883" y="357634"/>
                    </a:lnTo>
                    <a:lnTo>
                      <a:pt x="95503" y="357634"/>
                    </a:lnTo>
                    <a:lnTo>
                      <a:pt x="95503" y="38844"/>
                    </a:lnTo>
                    <a:cubicBezTo>
                      <a:pt x="95503" y="38844"/>
                      <a:pt x="0" y="38844"/>
                      <a:pt x="0" y="38844"/>
                    </a:cubicBez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34" name="Forma Livre: Forma 33">
                <a:extLst>
                  <a:ext uri="{FF2B5EF4-FFF2-40B4-BE49-F238E27FC236}">
                    <a16:creationId xmlns:a16="http://schemas.microsoft.com/office/drawing/2014/main" id="{CE7D610D-325B-4EB1-BCBF-AA6EA1A1797A}"/>
                  </a:ext>
                </a:extLst>
              </p:cNvPr>
              <p:cNvSpPr/>
              <p:nvPr/>
            </p:nvSpPr>
            <p:spPr>
              <a:xfrm>
                <a:off x="6657163" y="3546871"/>
                <a:ext cx="203329" cy="357567"/>
              </a:xfrm>
              <a:custGeom>
                <a:avLst/>
                <a:gdLst>
                  <a:gd name="connsiteX0" fmla="*/ 39313 w 203329"/>
                  <a:gd name="connsiteY0" fmla="*/ 318723 h 357567"/>
                  <a:gd name="connsiteX1" fmla="*/ 203329 w 203329"/>
                  <a:gd name="connsiteY1" fmla="*/ 318723 h 357567"/>
                  <a:gd name="connsiteX2" fmla="*/ 203329 w 203329"/>
                  <a:gd name="connsiteY2" fmla="*/ 357567 h 357567"/>
                  <a:gd name="connsiteX3" fmla="*/ 0 w 203329"/>
                  <a:gd name="connsiteY3" fmla="*/ 357567 h 357567"/>
                  <a:gd name="connsiteX4" fmla="*/ 0 w 203329"/>
                  <a:gd name="connsiteY4" fmla="*/ 0 h 357567"/>
                  <a:gd name="connsiteX5" fmla="*/ 203329 w 203329"/>
                  <a:gd name="connsiteY5" fmla="*/ 0 h 357567"/>
                  <a:gd name="connsiteX6" fmla="*/ 203329 w 203329"/>
                  <a:gd name="connsiteY6" fmla="*/ 38844 h 357567"/>
                  <a:gd name="connsiteX7" fmla="*/ 39313 w 203329"/>
                  <a:gd name="connsiteY7" fmla="*/ 38844 h 357567"/>
                  <a:gd name="connsiteX8" fmla="*/ 39313 w 203329"/>
                  <a:gd name="connsiteY8" fmla="*/ 157252 h 357567"/>
                  <a:gd name="connsiteX9" fmla="*/ 167499 w 203329"/>
                  <a:gd name="connsiteY9" fmla="*/ 157252 h 357567"/>
                  <a:gd name="connsiteX10" fmla="*/ 167499 w 203329"/>
                  <a:gd name="connsiteY10" fmla="*/ 196096 h 357567"/>
                  <a:gd name="connsiteX11" fmla="*/ 39313 w 203329"/>
                  <a:gd name="connsiteY11" fmla="*/ 196096 h 357567"/>
                  <a:gd name="connsiteX12" fmla="*/ 39313 w 203329"/>
                  <a:gd name="connsiteY12" fmla="*/ 318723 h 357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3329" h="357567">
                    <a:moveTo>
                      <a:pt x="39313" y="318723"/>
                    </a:moveTo>
                    <a:lnTo>
                      <a:pt x="203329" y="318723"/>
                    </a:lnTo>
                    <a:lnTo>
                      <a:pt x="203329" y="357567"/>
                    </a:lnTo>
                    <a:lnTo>
                      <a:pt x="0" y="357567"/>
                    </a:lnTo>
                    <a:lnTo>
                      <a:pt x="0" y="0"/>
                    </a:lnTo>
                    <a:lnTo>
                      <a:pt x="203329" y="0"/>
                    </a:lnTo>
                    <a:lnTo>
                      <a:pt x="203329" y="38844"/>
                    </a:lnTo>
                    <a:lnTo>
                      <a:pt x="39313" y="38844"/>
                    </a:lnTo>
                    <a:lnTo>
                      <a:pt x="39313" y="157252"/>
                    </a:lnTo>
                    <a:lnTo>
                      <a:pt x="167499" y="157252"/>
                    </a:lnTo>
                    <a:lnTo>
                      <a:pt x="167499" y="196096"/>
                    </a:lnTo>
                    <a:lnTo>
                      <a:pt x="39313" y="196096"/>
                    </a:lnTo>
                    <a:lnTo>
                      <a:pt x="39313" y="318723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35" name="Forma Livre: Forma 34">
                <a:extLst>
                  <a:ext uri="{FF2B5EF4-FFF2-40B4-BE49-F238E27FC236}">
                    <a16:creationId xmlns:a16="http://schemas.microsoft.com/office/drawing/2014/main" id="{18313D4C-40E2-4AD5-9372-6F5895C45BB7}"/>
                  </a:ext>
                </a:extLst>
              </p:cNvPr>
              <p:cNvSpPr/>
              <p:nvPr/>
            </p:nvSpPr>
            <p:spPr>
              <a:xfrm>
                <a:off x="6920232" y="3541715"/>
                <a:ext cx="230252" cy="367880"/>
              </a:xfrm>
              <a:custGeom>
                <a:avLst/>
                <a:gdLst>
                  <a:gd name="connsiteX0" fmla="*/ 230252 w 230252"/>
                  <a:gd name="connsiteY0" fmla="*/ 110907 h 367880"/>
                  <a:gd name="connsiteX1" fmla="*/ 190872 w 230252"/>
                  <a:gd name="connsiteY1" fmla="*/ 110907 h 367880"/>
                  <a:gd name="connsiteX2" fmla="*/ 115327 w 230252"/>
                  <a:gd name="connsiteY2" fmla="*/ 38911 h 367880"/>
                  <a:gd name="connsiteX3" fmla="*/ 39246 w 230252"/>
                  <a:gd name="connsiteY3" fmla="*/ 121153 h 367880"/>
                  <a:gd name="connsiteX4" fmla="*/ 39246 w 230252"/>
                  <a:gd name="connsiteY4" fmla="*/ 246861 h 367880"/>
                  <a:gd name="connsiteX5" fmla="*/ 115327 w 230252"/>
                  <a:gd name="connsiteY5" fmla="*/ 329103 h 367880"/>
                  <a:gd name="connsiteX6" fmla="*/ 190872 w 230252"/>
                  <a:gd name="connsiteY6" fmla="*/ 257108 h 367880"/>
                  <a:gd name="connsiteX7" fmla="*/ 230252 w 230252"/>
                  <a:gd name="connsiteY7" fmla="*/ 257108 h 367880"/>
                  <a:gd name="connsiteX8" fmla="*/ 115394 w 230252"/>
                  <a:gd name="connsiteY8" fmla="*/ 367881 h 367880"/>
                  <a:gd name="connsiteX9" fmla="*/ 0 w 230252"/>
                  <a:gd name="connsiteY9" fmla="*/ 246794 h 367880"/>
                  <a:gd name="connsiteX10" fmla="*/ 0 w 230252"/>
                  <a:gd name="connsiteY10" fmla="*/ 121086 h 367880"/>
                  <a:gd name="connsiteX11" fmla="*/ 115394 w 230252"/>
                  <a:gd name="connsiteY11" fmla="*/ 0 h 367880"/>
                  <a:gd name="connsiteX12" fmla="*/ 230252 w 230252"/>
                  <a:gd name="connsiteY12" fmla="*/ 110907 h 36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0252" h="367880">
                    <a:moveTo>
                      <a:pt x="230252" y="110907"/>
                    </a:moveTo>
                    <a:lnTo>
                      <a:pt x="190872" y="110907"/>
                    </a:lnTo>
                    <a:cubicBezTo>
                      <a:pt x="186787" y="63423"/>
                      <a:pt x="155041" y="38911"/>
                      <a:pt x="115327" y="38911"/>
                    </a:cubicBezTo>
                    <a:cubicBezTo>
                      <a:pt x="72933" y="38911"/>
                      <a:pt x="39246" y="66906"/>
                      <a:pt x="39246" y="121153"/>
                    </a:cubicBezTo>
                    <a:lnTo>
                      <a:pt x="39246" y="246861"/>
                    </a:lnTo>
                    <a:cubicBezTo>
                      <a:pt x="39246" y="300908"/>
                      <a:pt x="72933" y="329103"/>
                      <a:pt x="115327" y="329103"/>
                    </a:cubicBezTo>
                    <a:cubicBezTo>
                      <a:pt x="155243" y="329103"/>
                      <a:pt x="186787" y="304659"/>
                      <a:pt x="190872" y="257108"/>
                    </a:cubicBezTo>
                    <a:lnTo>
                      <a:pt x="230252" y="257108"/>
                    </a:lnTo>
                    <a:cubicBezTo>
                      <a:pt x="226167" y="326090"/>
                      <a:pt x="180759" y="367881"/>
                      <a:pt x="115394" y="367881"/>
                    </a:cubicBezTo>
                    <a:cubicBezTo>
                      <a:pt x="46948" y="367881"/>
                      <a:pt x="0" y="321938"/>
                      <a:pt x="0" y="246794"/>
                    </a:cubicBezTo>
                    <a:lnTo>
                      <a:pt x="0" y="121086"/>
                    </a:lnTo>
                    <a:cubicBezTo>
                      <a:pt x="0" y="45943"/>
                      <a:pt x="46948" y="0"/>
                      <a:pt x="115394" y="0"/>
                    </a:cubicBezTo>
                    <a:cubicBezTo>
                      <a:pt x="180826" y="-67"/>
                      <a:pt x="226167" y="41992"/>
                      <a:pt x="230252" y="110907"/>
                    </a:cubicBez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36" name="Forma Livre: Forma 35">
                <a:extLst>
                  <a:ext uri="{FF2B5EF4-FFF2-40B4-BE49-F238E27FC236}">
                    <a16:creationId xmlns:a16="http://schemas.microsoft.com/office/drawing/2014/main" id="{22BD59BA-B3AB-4C5D-A987-364A584D61E8}"/>
                  </a:ext>
                </a:extLst>
              </p:cNvPr>
              <p:cNvSpPr/>
              <p:nvPr/>
            </p:nvSpPr>
            <p:spPr>
              <a:xfrm>
                <a:off x="7218394" y="3546805"/>
                <a:ext cx="231055" cy="357566"/>
              </a:xfrm>
              <a:custGeom>
                <a:avLst/>
                <a:gdLst>
                  <a:gd name="connsiteX0" fmla="*/ 191676 w 231055"/>
                  <a:gd name="connsiteY0" fmla="*/ 0 h 357566"/>
                  <a:gd name="connsiteX1" fmla="*/ 231056 w 231055"/>
                  <a:gd name="connsiteY1" fmla="*/ 0 h 357566"/>
                  <a:gd name="connsiteX2" fmla="*/ 231056 w 231055"/>
                  <a:gd name="connsiteY2" fmla="*/ 357567 h 357566"/>
                  <a:gd name="connsiteX3" fmla="*/ 191676 w 231055"/>
                  <a:gd name="connsiteY3" fmla="*/ 357567 h 357566"/>
                  <a:gd name="connsiteX4" fmla="*/ 191676 w 231055"/>
                  <a:gd name="connsiteY4" fmla="*/ 196230 h 357566"/>
                  <a:gd name="connsiteX5" fmla="*/ 39380 w 231055"/>
                  <a:gd name="connsiteY5" fmla="*/ 196230 h 357566"/>
                  <a:gd name="connsiteX6" fmla="*/ 39380 w 231055"/>
                  <a:gd name="connsiteY6" fmla="*/ 357567 h 357566"/>
                  <a:gd name="connsiteX7" fmla="*/ 0 w 231055"/>
                  <a:gd name="connsiteY7" fmla="*/ 357567 h 357566"/>
                  <a:gd name="connsiteX8" fmla="*/ 0 w 231055"/>
                  <a:gd name="connsiteY8" fmla="*/ 0 h 357566"/>
                  <a:gd name="connsiteX9" fmla="*/ 39380 w 231055"/>
                  <a:gd name="connsiteY9" fmla="*/ 0 h 357566"/>
                  <a:gd name="connsiteX10" fmla="*/ 39380 w 231055"/>
                  <a:gd name="connsiteY10" fmla="*/ 157252 h 357566"/>
                  <a:gd name="connsiteX11" fmla="*/ 191676 w 231055"/>
                  <a:gd name="connsiteY11" fmla="*/ 157252 h 357566"/>
                  <a:gd name="connsiteX12" fmla="*/ 191676 w 231055"/>
                  <a:gd name="connsiteY12" fmla="*/ 0 h 357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1055" h="357566">
                    <a:moveTo>
                      <a:pt x="191676" y="0"/>
                    </a:moveTo>
                    <a:lnTo>
                      <a:pt x="231056" y="0"/>
                    </a:lnTo>
                    <a:lnTo>
                      <a:pt x="231056" y="357567"/>
                    </a:lnTo>
                    <a:lnTo>
                      <a:pt x="191676" y="357567"/>
                    </a:lnTo>
                    <a:lnTo>
                      <a:pt x="191676" y="196230"/>
                    </a:lnTo>
                    <a:lnTo>
                      <a:pt x="39380" y="196230"/>
                    </a:lnTo>
                    <a:lnTo>
                      <a:pt x="39380" y="357567"/>
                    </a:lnTo>
                    <a:lnTo>
                      <a:pt x="0" y="357567"/>
                    </a:lnTo>
                    <a:lnTo>
                      <a:pt x="0" y="0"/>
                    </a:lnTo>
                    <a:lnTo>
                      <a:pt x="39380" y="0"/>
                    </a:lnTo>
                    <a:lnTo>
                      <a:pt x="39380" y="157252"/>
                    </a:lnTo>
                    <a:lnTo>
                      <a:pt x="191676" y="157252"/>
                    </a:lnTo>
                    <a:lnTo>
                      <a:pt x="191676" y="0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37" name="Forma Livre: Forma 36">
                <a:extLst>
                  <a:ext uri="{FF2B5EF4-FFF2-40B4-BE49-F238E27FC236}">
                    <a16:creationId xmlns:a16="http://schemas.microsoft.com/office/drawing/2014/main" id="{478D709B-E25C-4562-B6C1-045A65E9B0F7}"/>
                  </a:ext>
                </a:extLst>
              </p:cNvPr>
              <p:cNvSpPr/>
              <p:nvPr/>
            </p:nvSpPr>
            <p:spPr>
              <a:xfrm>
                <a:off x="6368511" y="4061288"/>
                <a:ext cx="224090" cy="367747"/>
              </a:xfrm>
              <a:custGeom>
                <a:avLst/>
                <a:gdLst>
                  <a:gd name="connsiteX0" fmla="*/ 0 w 224090"/>
                  <a:gd name="connsiteY0" fmla="*/ 256907 h 367747"/>
                  <a:gd name="connsiteX1" fmla="*/ 40451 w 224090"/>
                  <a:gd name="connsiteY1" fmla="*/ 256907 h 367747"/>
                  <a:gd name="connsiteX2" fmla="*/ 115997 w 224090"/>
                  <a:gd name="connsiteY2" fmla="*/ 328903 h 367747"/>
                  <a:gd name="connsiteX3" fmla="*/ 184443 w 224090"/>
                  <a:gd name="connsiteY3" fmla="*/ 272177 h 367747"/>
                  <a:gd name="connsiteX4" fmla="*/ 126645 w 224090"/>
                  <a:gd name="connsiteY4" fmla="*/ 209424 h 367747"/>
                  <a:gd name="connsiteX5" fmla="*/ 81238 w 224090"/>
                  <a:gd name="connsiteY5" fmla="*/ 196632 h 367747"/>
                  <a:gd name="connsiteX6" fmla="*/ 6094 w 224090"/>
                  <a:gd name="connsiteY6" fmla="*/ 95034 h 367747"/>
                  <a:gd name="connsiteX7" fmla="*/ 111777 w 224090"/>
                  <a:gd name="connsiteY7" fmla="*/ 0 h 367747"/>
                  <a:gd name="connsiteX8" fmla="*/ 219536 w 224090"/>
                  <a:gd name="connsiteY8" fmla="*/ 95570 h 367747"/>
                  <a:gd name="connsiteX9" fmla="*/ 179085 w 224090"/>
                  <a:gd name="connsiteY9" fmla="*/ 95570 h 367747"/>
                  <a:gd name="connsiteX10" fmla="*/ 111710 w 224090"/>
                  <a:gd name="connsiteY10" fmla="*/ 38844 h 367747"/>
                  <a:gd name="connsiteX11" fmla="*/ 45742 w 224090"/>
                  <a:gd name="connsiteY11" fmla="*/ 95034 h 367747"/>
                  <a:gd name="connsiteX12" fmla="*/ 98919 w 224090"/>
                  <a:gd name="connsiteY12" fmla="*/ 158323 h 367747"/>
                  <a:gd name="connsiteX13" fmla="*/ 140777 w 224090"/>
                  <a:gd name="connsiteY13" fmla="*/ 170044 h 367747"/>
                  <a:gd name="connsiteX14" fmla="*/ 224091 w 224090"/>
                  <a:gd name="connsiteY14" fmla="*/ 272177 h 367747"/>
                  <a:gd name="connsiteX15" fmla="*/ 115796 w 224090"/>
                  <a:gd name="connsiteY15" fmla="*/ 367747 h 367747"/>
                  <a:gd name="connsiteX16" fmla="*/ 0 w 224090"/>
                  <a:gd name="connsiteY16" fmla="*/ 256907 h 3677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24090" h="367747">
                    <a:moveTo>
                      <a:pt x="0" y="256907"/>
                    </a:moveTo>
                    <a:lnTo>
                      <a:pt x="40451" y="256907"/>
                    </a:lnTo>
                    <a:cubicBezTo>
                      <a:pt x="46680" y="302851"/>
                      <a:pt x="77688" y="328903"/>
                      <a:pt x="115997" y="328903"/>
                    </a:cubicBezTo>
                    <a:cubicBezTo>
                      <a:pt x="156448" y="328903"/>
                      <a:pt x="184443" y="309950"/>
                      <a:pt x="184443" y="272177"/>
                    </a:cubicBezTo>
                    <a:cubicBezTo>
                      <a:pt x="184443" y="239896"/>
                      <a:pt x="167097" y="220608"/>
                      <a:pt x="126645" y="209424"/>
                    </a:cubicBezTo>
                    <a:lnTo>
                      <a:pt x="81238" y="196632"/>
                    </a:lnTo>
                    <a:cubicBezTo>
                      <a:pt x="28062" y="181764"/>
                      <a:pt x="6094" y="138500"/>
                      <a:pt x="6094" y="95034"/>
                    </a:cubicBezTo>
                    <a:cubicBezTo>
                      <a:pt x="6094" y="33687"/>
                      <a:pt x="54650" y="0"/>
                      <a:pt x="111777" y="0"/>
                    </a:cubicBezTo>
                    <a:cubicBezTo>
                      <a:pt x="173660" y="0"/>
                      <a:pt x="211969" y="34759"/>
                      <a:pt x="219536" y="95570"/>
                    </a:cubicBezTo>
                    <a:lnTo>
                      <a:pt x="179085" y="95570"/>
                    </a:lnTo>
                    <a:cubicBezTo>
                      <a:pt x="171450" y="61347"/>
                      <a:pt x="150019" y="38844"/>
                      <a:pt x="111710" y="38844"/>
                    </a:cubicBezTo>
                    <a:cubicBezTo>
                      <a:pt x="68781" y="38844"/>
                      <a:pt x="45742" y="63825"/>
                      <a:pt x="45742" y="95034"/>
                    </a:cubicBezTo>
                    <a:cubicBezTo>
                      <a:pt x="45742" y="127650"/>
                      <a:pt x="62084" y="148211"/>
                      <a:pt x="98919" y="158323"/>
                    </a:cubicBezTo>
                    <a:lnTo>
                      <a:pt x="140777" y="170044"/>
                    </a:lnTo>
                    <a:cubicBezTo>
                      <a:pt x="191274" y="184376"/>
                      <a:pt x="224091" y="215451"/>
                      <a:pt x="224091" y="272177"/>
                    </a:cubicBezTo>
                    <a:cubicBezTo>
                      <a:pt x="224091" y="329439"/>
                      <a:pt x="187389" y="367747"/>
                      <a:pt x="115796" y="367747"/>
                    </a:cubicBezTo>
                    <a:cubicBezTo>
                      <a:pt x="51234" y="367680"/>
                      <a:pt x="5090" y="325353"/>
                      <a:pt x="0" y="256907"/>
                    </a:cubicBez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38" name="Forma Livre: Forma 37">
                <a:extLst>
                  <a:ext uri="{FF2B5EF4-FFF2-40B4-BE49-F238E27FC236}">
                    <a16:creationId xmlns:a16="http://schemas.microsoft.com/office/drawing/2014/main" id="{B5947928-3BB0-4DE1-8E14-42D6DCBB352A}"/>
                  </a:ext>
                </a:extLst>
              </p:cNvPr>
              <p:cNvSpPr/>
              <p:nvPr/>
            </p:nvSpPr>
            <p:spPr>
              <a:xfrm>
                <a:off x="6650600" y="4061154"/>
                <a:ext cx="230252" cy="367880"/>
              </a:xfrm>
              <a:custGeom>
                <a:avLst/>
                <a:gdLst>
                  <a:gd name="connsiteX0" fmla="*/ 230252 w 230252"/>
                  <a:gd name="connsiteY0" fmla="*/ 110907 h 367880"/>
                  <a:gd name="connsiteX1" fmla="*/ 190872 w 230252"/>
                  <a:gd name="connsiteY1" fmla="*/ 110907 h 367880"/>
                  <a:gd name="connsiteX2" fmla="*/ 115327 w 230252"/>
                  <a:gd name="connsiteY2" fmla="*/ 38911 h 367880"/>
                  <a:gd name="connsiteX3" fmla="*/ 39246 w 230252"/>
                  <a:gd name="connsiteY3" fmla="*/ 121153 h 367880"/>
                  <a:gd name="connsiteX4" fmla="*/ 39246 w 230252"/>
                  <a:gd name="connsiteY4" fmla="*/ 246861 h 367880"/>
                  <a:gd name="connsiteX5" fmla="*/ 115327 w 230252"/>
                  <a:gd name="connsiteY5" fmla="*/ 329104 h 367880"/>
                  <a:gd name="connsiteX6" fmla="*/ 190872 w 230252"/>
                  <a:gd name="connsiteY6" fmla="*/ 257108 h 367880"/>
                  <a:gd name="connsiteX7" fmla="*/ 230252 w 230252"/>
                  <a:gd name="connsiteY7" fmla="*/ 257108 h 367880"/>
                  <a:gd name="connsiteX8" fmla="*/ 115394 w 230252"/>
                  <a:gd name="connsiteY8" fmla="*/ 367881 h 367880"/>
                  <a:gd name="connsiteX9" fmla="*/ 0 w 230252"/>
                  <a:gd name="connsiteY9" fmla="*/ 246794 h 367880"/>
                  <a:gd name="connsiteX10" fmla="*/ 0 w 230252"/>
                  <a:gd name="connsiteY10" fmla="*/ 121086 h 367880"/>
                  <a:gd name="connsiteX11" fmla="*/ 115394 w 230252"/>
                  <a:gd name="connsiteY11" fmla="*/ 0 h 367880"/>
                  <a:gd name="connsiteX12" fmla="*/ 230252 w 230252"/>
                  <a:gd name="connsiteY12" fmla="*/ 110907 h 36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0252" h="367880">
                    <a:moveTo>
                      <a:pt x="230252" y="110907"/>
                    </a:moveTo>
                    <a:lnTo>
                      <a:pt x="190872" y="110907"/>
                    </a:lnTo>
                    <a:cubicBezTo>
                      <a:pt x="186787" y="63423"/>
                      <a:pt x="155042" y="38911"/>
                      <a:pt x="115327" y="38911"/>
                    </a:cubicBezTo>
                    <a:cubicBezTo>
                      <a:pt x="72933" y="38911"/>
                      <a:pt x="39246" y="66906"/>
                      <a:pt x="39246" y="121153"/>
                    </a:cubicBezTo>
                    <a:lnTo>
                      <a:pt x="39246" y="246861"/>
                    </a:lnTo>
                    <a:cubicBezTo>
                      <a:pt x="39246" y="300908"/>
                      <a:pt x="72933" y="329104"/>
                      <a:pt x="115327" y="329104"/>
                    </a:cubicBezTo>
                    <a:cubicBezTo>
                      <a:pt x="155243" y="329104"/>
                      <a:pt x="186787" y="304659"/>
                      <a:pt x="190872" y="257108"/>
                    </a:cubicBezTo>
                    <a:lnTo>
                      <a:pt x="230252" y="257108"/>
                    </a:lnTo>
                    <a:cubicBezTo>
                      <a:pt x="226167" y="326090"/>
                      <a:pt x="180759" y="367881"/>
                      <a:pt x="115394" y="367881"/>
                    </a:cubicBezTo>
                    <a:cubicBezTo>
                      <a:pt x="46948" y="367881"/>
                      <a:pt x="0" y="321938"/>
                      <a:pt x="0" y="246794"/>
                    </a:cubicBezTo>
                    <a:lnTo>
                      <a:pt x="0" y="121086"/>
                    </a:lnTo>
                    <a:cubicBezTo>
                      <a:pt x="0" y="45943"/>
                      <a:pt x="46948" y="0"/>
                      <a:pt x="115394" y="0"/>
                    </a:cubicBezTo>
                    <a:cubicBezTo>
                      <a:pt x="180759" y="-67"/>
                      <a:pt x="226167" y="41992"/>
                      <a:pt x="230252" y="110907"/>
                    </a:cubicBez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39" name="Forma Livre: Forma 38">
                <a:extLst>
                  <a:ext uri="{FF2B5EF4-FFF2-40B4-BE49-F238E27FC236}">
                    <a16:creationId xmlns:a16="http://schemas.microsoft.com/office/drawing/2014/main" id="{0507511C-8AE6-45EA-950C-84820AE9B119}"/>
                  </a:ext>
                </a:extLst>
              </p:cNvPr>
              <p:cNvSpPr/>
              <p:nvPr/>
            </p:nvSpPr>
            <p:spPr>
              <a:xfrm>
                <a:off x="6948695" y="4066244"/>
                <a:ext cx="231055" cy="357566"/>
              </a:xfrm>
              <a:custGeom>
                <a:avLst/>
                <a:gdLst>
                  <a:gd name="connsiteX0" fmla="*/ 191676 w 231055"/>
                  <a:gd name="connsiteY0" fmla="*/ 0 h 357566"/>
                  <a:gd name="connsiteX1" fmla="*/ 231056 w 231055"/>
                  <a:gd name="connsiteY1" fmla="*/ 0 h 357566"/>
                  <a:gd name="connsiteX2" fmla="*/ 231056 w 231055"/>
                  <a:gd name="connsiteY2" fmla="*/ 357567 h 357566"/>
                  <a:gd name="connsiteX3" fmla="*/ 191676 w 231055"/>
                  <a:gd name="connsiteY3" fmla="*/ 357567 h 357566"/>
                  <a:gd name="connsiteX4" fmla="*/ 191676 w 231055"/>
                  <a:gd name="connsiteY4" fmla="*/ 196230 h 357566"/>
                  <a:gd name="connsiteX5" fmla="*/ 39380 w 231055"/>
                  <a:gd name="connsiteY5" fmla="*/ 196230 h 357566"/>
                  <a:gd name="connsiteX6" fmla="*/ 39380 w 231055"/>
                  <a:gd name="connsiteY6" fmla="*/ 357567 h 357566"/>
                  <a:gd name="connsiteX7" fmla="*/ 0 w 231055"/>
                  <a:gd name="connsiteY7" fmla="*/ 357567 h 357566"/>
                  <a:gd name="connsiteX8" fmla="*/ 0 w 231055"/>
                  <a:gd name="connsiteY8" fmla="*/ 0 h 357566"/>
                  <a:gd name="connsiteX9" fmla="*/ 39380 w 231055"/>
                  <a:gd name="connsiteY9" fmla="*/ 0 h 357566"/>
                  <a:gd name="connsiteX10" fmla="*/ 39380 w 231055"/>
                  <a:gd name="connsiteY10" fmla="*/ 157252 h 357566"/>
                  <a:gd name="connsiteX11" fmla="*/ 191676 w 231055"/>
                  <a:gd name="connsiteY11" fmla="*/ 157252 h 357566"/>
                  <a:gd name="connsiteX12" fmla="*/ 191676 w 231055"/>
                  <a:gd name="connsiteY12" fmla="*/ 0 h 357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1055" h="357566">
                    <a:moveTo>
                      <a:pt x="191676" y="0"/>
                    </a:moveTo>
                    <a:lnTo>
                      <a:pt x="231056" y="0"/>
                    </a:lnTo>
                    <a:lnTo>
                      <a:pt x="231056" y="357567"/>
                    </a:lnTo>
                    <a:lnTo>
                      <a:pt x="191676" y="357567"/>
                    </a:lnTo>
                    <a:lnTo>
                      <a:pt x="191676" y="196230"/>
                    </a:lnTo>
                    <a:lnTo>
                      <a:pt x="39380" y="196230"/>
                    </a:lnTo>
                    <a:lnTo>
                      <a:pt x="39380" y="357567"/>
                    </a:lnTo>
                    <a:lnTo>
                      <a:pt x="0" y="357567"/>
                    </a:lnTo>
                    <a:lnTo>
                      <a:pt x="0" y="0"/>
                    </a:lnTo>
                    <a:lnTo>
                      <a:pt x="39380" y="0"/>
                    </a:lnTo>
                    <a:lnTo>
                      <a:pt x="39380" y="157252"/>
                    </a:lnTo>
                    <a:lnTo>
                      <a:pt x="191676" y="157252"/>
                    </a:lnTo>
                    <a:lnTo>
                      <a:pt x="191676" y="0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40" name="Forma Livre: Forma 39">
                <a:extLst>
                  <a:ext uri="{FF2B5EF4-FFF2-40B4-BE49-F238E27FC236}">
                    <a16:creationId xmlns:a16="http://schemas.microsoft.com/office/drawing/2014/main" id="{DC3BC821-6A5E-4DCE-893C-D15892B9C33A}"/>
                  </a:ext>
                </a:extLst>
              </p:cNvPr>
              <p:cNvSpPr/>
              <p:nvPr/>
            </p:nvSpPr>
            <p:spPr>
              <a:xfrm>
                <a:off x="7249269" y="4061087"/>
                <a:ext cx="230787" cy="367880"/>
              </a:xfrm>
              <a:custGeom>
                <a:avLst/>
                <a:gdLst>
                  <a:gd name="connsiteX0" fmla="*/ 230788 w 230787"/>
                  <a:gd name="connsiteY0" fmla="*/ 246794 h 367880"/>
                  <a:gd name="connsiteX1" fmla="*/ 115394 w 230787"/>
                  <a:gd name="connsiteY1" fmla="*/ 367881 h 367880"/>
                  <a:gd name="connsiteX2" fmla="*/ 0 w 230787"/>
                  <a:gd name="connsiteY2" fmla="*/ 246794 h 367880"/>
                  <a:gd name="connsiteX3" fmla="*/ 0 w 230787"/>
                  <a:gd name="connsiteY3" fmla="*/ 121087 h 367880"/>
                  <a:gd name="connsiteX4" fmla="*/ 115394 w 230787"/>
                  <a:gd name="connsiteY4" fmla="*/ 0 h 367880"/>
                  <a:gd name="connsiteX5" fmla="*/ 230788 w 230787"/>
                  <a:gd name="connsiteY5" fmla="*/ 121087 h 367880"/>
                  <a:gd name="connsiteX6" fmla="*/ 230788 w 230787"/>
                  <a:gd name="connsiteY6" fmla="*/ 246794 h 367880"/>
                  <a:gd name="connsiteX7" fmla="*/ 191475 w 230787"/>
                  <a:gd name="connsiteY7" fmla="*/ 121087 h 367880"/>
                  <a:gd name="connsiteX8" fmla="*/ 115394 w 230787"/>
                  <a:gd name="connsiteY8" fmla="*/ 38844 h 367880"/>
                  <a:gd name="connsiteX9" fmla="*/ 39313 w 230787"/>
                  <a:gd name="connsiteY9" fmla="*/ 121087 h 367880"/>
                  <a:gd name="connsiteX10" fmla="*/ 39313 w 230787"/>
                  <a:gd name="connsiteY10" fmla="*/ 246794 h 367880"/>
                  <a:gd name="connsiteX11" fmla="*/ 115394 w 230787"/>
                  <a:gd name="connsiteY11" fmla="*/ 329037 h 367880"/>
                  <a:gd name="connsiteX12" fmla="*/ 191475 w 230787"/>
                  <a:gd name="connsiteY12" fmla="*/ 246794 h 367880"/>
                  <a:gd name="connsiteX13" fmla="*/ 191475 w 230787"/>
                  <a:gd name="connsiteY13" fmla="*/ 121087 h 36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30787" h="367880">
                    <a:moveTo>
                      <a:pt x="230788" y="246794"/>
                    </a:moveTo>
                    <a:cubicBezTo>
                      <a:pt x="230788" y="321938"/>
                      <a:pt x="183840" y="367881"/>
                      <a:pt x="115394" y="367881"/>
                    </a:cubicBezTo>
                    <a:cubicBezTo>
                      <a:pt x="46948" y="367881"/>
                      <a:pt x="0" y="321938"/>
                      <a:pt x="0" y="246794"/>
                    </a:cubicBezTo>
                    <a:lnTo>
                      <a:pt x="0" y="121087"/>
                    </a:lnTo>
                    <a:cubicBezTo>
                      <a:pt x="0" y="45943"/>
                      <a:pt x="46948" y="0"/>
                      <a:pt x="115394" y="0"/>
                    </a:cubicBezTo>
                    <a:cubicBezTo>
                      <a:pt x="183840" y="0"/>
                      <a:pt x="230788" y="45943"/>
                      <a:pt x="230788" y="121087"/>
                    </a:cubicBezTo>
                    <a:lnTo>
                      <a:pt x="230788" y="246794"/>
                    </a:lnTo>
                    <a:close/>
                    <a:moveTo>
                      <a:pt x="191475" y="121087"/>
                    </a:moveTo>
                    <a:cubicBezTo>
                      <a:pt x="191475" y="67040"/>
                      <a:pt x="157788" y="38844"/>
                      <a:pt x="115394" y="38844"/>
                    </a:cubicBezTo>
                    <a:cubicBezTo>
                      <a:pt x="73000" y="38844"/>
                      <a:pt x="39313" y="66839"/>
                      <a:pt x="39313" y="121087"/>
                    </a:cubicBezTo>
                    <a:lnTo>
                      <a:pt x="39313" y="246794"/>
                    </a:lnTo>
                    <a:cubicBezTo>
                      <a:pt x="39313" y="300841"/>
                      <a:pt x="73000" y="329037"/>
                      <a:pt x="115394" y="329037"/>
                    </a:cubicBezTo>
                    <a:cubicBezTo>
                      <a:pt x="157788" y="329037"/>
                      <a:pt x="191475" y="301042"/>
                      <a:pt x="191475" y="246794"/>
                    </a:cubicBezTo>
                    <a:lnTo>
                      <a:pt x="191475" y="121087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41" name="Forma Livre: Forma 40">
                <a:extLst>
                  <a:ext uri="{FF2B5EF4-FFF2-40B4-BE49-F238E27FC236}">
                    <a16:creationId xmlns:a16="http://schemas.microsoft.com/office/drawing/2014/main" id="{E9058E55-A3B1-4765-8FF8-A1CC9F49751A}"/>
                  </a:ext>
                </a:extLst>
              </p:cNvPr>
              <p:cNvSpPr/>
              <p:nvPr/>
            </p:nvSpPr>
            <p:spPr>
              <a:xfrm>
                <a:off x="7539327" y="4061087"/>
                <a:ext cx="230787" cy="367880"/>
              </a:xfrm>
              <a:custGeom>
                <a:avLst/>
                <a:gdLst>
                  <a:gd name="connsiteX0" fmla="*/ 230788 w 230787"/>
                  <a:gd name="connsiteY0" fmla="*/ 246794 h 367880"/>
                  <a:gd name="connsiteX1" fmla="*/ 115394 w 230787"/>
                  <a:gd name="connsiteY1" fmla="*/ 367881 h 367880"/>
                  <a:gd name="connsiteX2" fmla="*/ 0 w 230787"/>
                  <a:gd name="connsiteY2" fmla="*/ 246794 h 367880"/>
                  <a:gd name="connsiteX3" fmla="*/ 0 w 230787"/>
                  <a:gd name="connsiteY3" fmla="*/ 121087 h 367880"/>
                  <a:gd name="connsiteX4" fmla="*/ 115394 w 230787"/>
                  <a:gd name="connsiteY4" fmla="*/ 0 h 367880"/>
                  <a:gd name="connsiteX5" fmla="*/ 230788 w 230787"/>
                  <a:gd name="connsiteY5" fmla="*/ 121087 h 367880"/>
                  <a:gd name="connsiteX6" fmla="*/ 230788 w 230787"/>
                  <a:gd name="connsiteY6" fmla="*/ 246794 h 367880"/>
                  <a:gd name="connsiteX7" fmla="*/ 191408 w 230787"/>
                  <a:gd name="connsiteY7" fmla="*/ 121087 h 367880"/>
                  <a:gd name="connsiteX8" fmla="*/ 115327 w 230787"/>
                  <a:gd name="connsiteY8" fmla="*/ 38844 h 367880"/>
                  <a:gd name="connsiteX9" fmla="*/ 39246 w 230787"/>
                  <a:gd name="connsiteY9" fmla="*/ 121087 h 367880"/>
                  <a:gd name="connsiteX10" fmla="*/ 39246 w 230787"/>
                  <a:gd name="connsiteY10" fmla="*/ 246794 h 367880"/>
                  <a:gd name="connsiteX11" fmla="*/ 115327 w 230787"/>
                  <a:gd name="connsiteY11" fmla="*/ 329037 h 367880"/>
                  <a:gd name="connsiteX12" fmla="*/ 191408 w 230787"/>
                  <a:gd name="connsiteY12" fmla="*/ 246794 h 367880"/>
                  <a:gd name="connsiteX13" fmla="*/ 191408 w 230787"/>
                  <a:gd name="connsiteY13" fmla="*/ 121087 h 36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30787" h="367880">
                    <a:moveTo>
                      <a:pt x="230788" y="246794"/>
                    </a:moveTo>
                    <a:cubicBezTo>
                      <a:pt x="230788" y="321938"/>
                      <a:pt x="183840" y="367881"/>
                      <a:pt x="115394" y="367881"/>
                    </a:cubicBezTo>
                    <a:cubicBezTo>
                      <a:pt x="46948" y="367881"/>
                      <a:pt x="0" y="321938"/>
                      <a:pt x="0" y="246794"/>
                    </a:cubicBezTo>
                    <a:lnTo>
                      <a:pt x="0" y="121087"/>
                    </a:lnTo>
                    <a:cubicBezTo>
                      <a:pt x="0" y="45943"/>
                      <a:pt x="46948" y="0"/>
                      <a:pt x="115394" y="0"/>
                    </a:cubicBezTo>
                    <a:cubicBezTo>
                      <a:pt x="183840" y="0"/>
                      <a:pt x="230788" y="45943"/>
                      <a:pt x="230788" y="121087"/>
                    </a:cubicBezTo>
                    <a:lnTo>
                      <a:pt x="230788" y="246794"/>
                    </a:lnTo>
                    <a:close/>
                    <a:moveTo>
                      <a:pt x="191408" y="121087"/>
                    </a:moveTo>
                    <a:cubicBezTo>
                      <a:pt x="191408" y="67040"/>
                      <a:pt x="157721" y="38844"/>
                      <a:pt x="115327" y="38844"/>
                    </a:cubicBezTo>
                    <a:cubicBezTo>
                      <a:pt x="72933" y="38844"/>
                      <a:pt x="39246" y="66839"/>
                      <a:pt x="39246" y="121087"/>
                    </a:cubicBezTo>
                    <a:lnTo>
                      <a:pt x="39246" y="246794"/>
                    </a:lnTo>
                    <a:cubicBezTo>
                      <a:pt x="39246" y="300841"/>
                      <a:pt x="72933" y="329037"/>
                      <a:pt x="115327" y="329037"/>
                    </a:cubicBezTo>
                    <a:cubicBezTo>
                      <a:pt x="157721" y="329037"/>
                      <a:pt x="191408" y="301042"/>
                      <a:pt x="191408" y="246794"/>
                    </a:cubicBezTo>
                    <a:lnTo>
                      <a:pt x="191408" y="121087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42" name="Forma Livre: Forma 41">
                <a:extLst>
                  <a:ext uri="{FF2B5EF4-FFF2-40B4-BE49-F238E27FC236}">
                    <a16:creationId xmlns:a16="http://schemas.microsoft.com/office/drawing/2014/main" id="{B9EB98FC-A7A3-4E22-9C85-AEF4A5A28913}"/>
                  </a:ext>
                </a:extLst>
              </p:cNvPr>
              <p:cNvSpPr/>
              <p:nvPr/>
            </p:nvSpPr>
            <p:spPr>
              <a:xfrm>
                <a:off x="7841575" y="4066244"/>
                <a:ext cx="203328" cy="357633"/>
              </a:xfrm>
              <a:custGeom>
                <a:avLst/>
                <a:gdLst>
                  <a:gd name="connsiteX0" fmla="*/ 0 w 203328"/>
                  <a:gd name="connsiteY0" fmla="*/ 0 h 357633"/>
                  <a:gd name="connsiteX1" fmla="*/ 39380 w 203328"/>
                  <a:gd name="connsiteY1" fmla="*/ 0 h 357633"/>
                  <a:gd name="connsiteX2" fmla="*/ 39380 w 203328"/>
                  <a:gd name="connsiteY2" fmla="*/ 318790 h 357633"/>
                  <a:gd name="connsiteX3" fmla="*/ 203329 w 203328"/>
                  <a:gd name="connsiteY3" fmla="*/ 318790 h 357633"/>
                  <a:gd name="connsiteX4" fmla="*/ 203329 w 203328"/>
                  <a:gd name="connsiteY4" fmla="*/ 357634 h 357633"/>
                  <a:gd name="connsiteX5" fmla="*/ 0 w 203328"/>
                  <a:gd name="connsiteY5" fmla="*/ 357634 h 357633"/>
                  <a:gd name="connsiteX6" fmla="*/ 0 w 203328"/>
                  <a:gd name="connsiteY6" fmla="*/ 0 h 357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3328" h="357633">
                    <a:moveTo>
                      <a:pt x="0" y="0"/>
                    </a:moveTo>
                    <a:lnTo>
                      <a:pt x="39380" y="0"/>
                    </a:lnTo>
                    <a:lnTo>
                      <a:pt x="39380" y="318790"/>
                    </a:lnTo>
                    <a:lnTo>
                      <a:pt x="203329" y="318790"/>
                    </a:lnTo>
                    <a:lnTo>
                      <a:pt x="203329" y="357634"/>
                    </a:lnTo>
                    <a:lnTo>
                      <a:pt x="0" y="35763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F2A4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</p:grpSp>
        <p:grpSp>
          <p:nvGrpSpPr>
            <p:cNvPr id="17" name="Gráfico 3">
              <a:extLst>
                <a:ext uri="{FF2B5EF4-FFF2-40B4-BE49-F238E27FC236}">
                  <a16:creationId xmlns:a16="http://schemas.microsoft.com/office/drawing/2014/main" id="{D7CA4034-2F86-4340-B414-912B4AB11DD3}"/>
                </a:ext>
              </a:extLst>
            </p:cNvPr>
            <p:cNvGrpSpPr/>
            <p:nvPr/>
          </p:nvGrpSpPr>
          <p:grpSpPr>
            <a:xfrm>
              <a:off x="4147095" y="2502567"/>
              <a:ext cx="1925329" cy="1927272"/>
              <a:chOff x="4147095" y="2502567"/>
              <a:chExt cx="1925329" cy="1927272"/>
            </a:xfrm>
            <a:solidFill>
              <a:srgbClr val="D0D3D4"/>
            </a:solidFill>
          </p:grpSpPr>
          <p:sp>
            <p:nvSpPr>
              <p:cNvPr id="23" name="Forma Livre: Forma 22">
                <a:extLst>
                  <a:ext uri="{FF2B5EF4-FFF2-40B4-BE49-F238E27FC236}">
                    <a16:creationId xmlns:a16="http://schemas.microsoft.com/office/drawing/2014/main" id="{A7AE4BE4-C205-4590-BFE0-511EC2EDF6EB}"/>
                  </a:ext>
                </a:extLst>
              </p:cNvPr>
              <p:cNvSpPr/>
              <p:nvPr/>
            </p:nvSpPr>
            <p:spPr>
              <a:xfrm>
                <a:off x="4625615" y="3946899"/>
                <a:ext cx="482939" cy="482939"/>
              </a:xfrm>
              <a:custGeom>
                <a:avLst/>
                <a:gdLst>
                  <a:gd name="connsiteX0" fmla="*/ 0 w 482939"/>
                  <a:gd name="connsiteY0" fmla="*/ 482940 h 482939"/>
                  <a:gd name="connsiteX1" fmla="*/ 63490 w 482939"/>
                  <a:gd name="connsiteY1" fmla="*/ 482940 h 482939"/>
                  <a:gd name="connsiteX2" fmla="*/ 482940 w 482939"/>
                  <a:gd name="connsiteY2" fmla="*/ 482940 h 482939"/>
                  <a:gd name="connsiteX3" fmla="*/ 482940 w 482939"/>
                  <a:gd name="connsiteY3" fmla="*/ 0 h 482939"/>
                  <a:gd name="connsiteX4" fmla="*/ 0 w 482939"/>
                  <a:gd name="connsiteY4" fmla="*/ 482940 h 4829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2939" h="482939">
                    <a:moveTo>
                      <a:pt x="0" y="482940"/>
                    </a:moveTo>
                    <a:lnTo>
                      <a:pt x="63490" y="482940"/>
                    </a:lnTo>
                    <a:lnTo>
                      <a:pt x="482940" y="482940"/>
                    </a:lnTo>
                    <a:lnTo>
                      <a:pt x="482940" y="0"/>
                    </a:lnTo>
                    <a:cubicBezTo>
                      <a:pt x="482873" y="266685"/>
                      <a:pt x="266618" y="482940"/>
                      <a:pt x="0" y="482940"/>
                    </a:cubicBezTo>
                    <a:close/>
                  </a:path>
                </a:pathLst>
              </a:custGeom>
              <a:solidFill>
                <a:srgbClr val="D0D3D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  <p:sp>
            <p:nvSpPr>
              <p:cNvPr id="24" name="Forma Livre: Forma 23">
                <a:extLst>
                  <a:ext uri="{FF2B5EF4-FFF2-40B4-BE49-F238E27FC236}">
                    <a16:creationId xmlns:a16="http://schemas.microsoft.com/office/drawing/2014/main" id="{D0D54943-A9E9-45D0-B936-D0101232BBF0}"/>
                  </a:ext>
                </a:extLst>
              </p:cNvPr>
              <p:cNvSpPr/>
              <p:nvPr/>
            </p:nvSpPr>
            <p:spPr>
              <a:xfrm>
                <a:off x="4147095" y="2502567"/>
                <a:ext cx="1925329" cy="1927137"/>
              </a:xfrm>
              <a:custGeom>
                <a:avLst/>
                <a:gdLst>
                  <a:gd name="connsiteX0" fmla="*/ 0 w 1925329"/>
                  <a:gd name="connsiteY0" fmla="*/ 0 h 1927137"/>
                  <a:gd name="connsiteX1" fmla="*/ 0 w 1925329"/>
                  <a:gd name="connsiteY1" fmla="*/ 961392 h 1927137"/>
                  <a:gd name="connsiteX2" fmla="*/ 478520 w 1925329"/>
                  <a:gd name="connsiteY2" fmla="*/ 961392 h 1927137"/>
                  <a:gd name="connsiteX3" fmla="*/ 552123 w 1925329"/>
                  <a:gd name="connsiteY3" fmla="*/ 966884 h 1927137"/>
                  <a:gd name="connsiteX4" fmla="*/ 687943 w 1925329"/>
                  <a:gd name="connsiteY4" fmla="*/ 1008876 h 1927137"/>
                  <a:gd name="connsiteX5" fmla="*/ 728863 w 1925329"/>
                  <a:gd name="connsiteY5" fmla="*/ 1031245 h 1927137"/>
                  <a:gd name="connsiteX6" fmla="*/ 785589 w 1925329"/>
                  <a:gd name="connsiteY6" fmla="*/ 1071696 h 1927137"/>
                  <a:gd name="connsiteX7" fmla="*/ 878815 w 1925329"/>
                  <a:gd name="connsiteY7" fmla="*/ 1174366 h 1927137"/>
                  <a:gd name="connsiteX8" fmla="*/ 902925 w 1925329"/>
                  <a:gd name="connsiteY8" fmla="*/ 1214281 h 1927137"/>
                  <a:gd name="connsiteX9" fmla="*/ 923285 w 1925329"/>
                  <a:gd name="connsiteY9" fmla="*/ 1256474 h 1927137"/>
                  <a:gd name="connsiteX10" fmla="*/ 945989 w 1925329"/>
                  <a:gd name="connsiteY10" fmla="*/ 1323648 h 1927137"/>
                  <a:gd name="connsiteX11" fmla="*/ 961259 w 1925329"/>
                  <a:gd name="connsiteY11" fmla="*/ 1444399 h 1927137"/>
                  <a:gd name="connsiteX12" fmla="*/ 961259 w 1925329"/>
                  <a:gd name="connsiteY12" fmla="*/ 1141750 h 1927137"/>
                  <a:gd name="connsiteX13" fmla="*/ 1261765 w 1925329"/>
                  <a:gd name="connsiteY13" fmla="*/ 1141750 h 1927137"/>
                  <a:gd name="connsiteX14" fmla="*/ 1261765 w 1925329"/>
                  <a:gd name="connsiteY14" fmla="*/ 1927138 h 1927137"/>
                  <a:gd name="connsiteX15" fmla="*/ 1925330 w 1925329"/>
                  <a:gd name="connsiteY15" fmla="*/ 1927138 h 1927137"/>
                  <a:gd name="connsiteX16" fmla="*/ 1925330 w 1925329"/>
                  <a:gd name="connsiteY16" fmla="*/ 1927138 h 1927137"/>
                  <a:gd name="connsiteX17" fmla="*/ 1925330 w 1925329"/>
                  <a:gd name="connsiteY17" fmla="*/ 0 h 1927137"/>
                  <a:gd name="connsiteX18" fmla="*/ 0 w 1925329"/>
                  <a:gd name="connsiteY18" fmla="*/ 0 h 1927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25329" h="1927137">
                    <a:moveTo>
                      <a:pt x="0" y="0"/>
                    </a:moveTo>
                    <a:lnTo>
                      <a:pt x="0" y="961392"/>
                    </a:lnTo>
                    <a:lnTo>
                      <a:pt x="478520" y="961392"/>
                    </a:lnTo>
                    <a:cubicBezTo>
                      <a:pt x="503500" y="961392"/>
                      <a:pt x="528146" y="963335"/>
                      <a:pt x="552123" y="966884"/>
                    </a:cubicBezTo>
                    <a:cubicBezTo>
                      <a:pt x="600008" y="974184"/>
                      <a:pt x="645750" y="988516"/>
                      <a:pt x="687943" y="1008876"/>
                    </a:cubicBezTo>
                    <a:cubicBezTo>
                      <a:pt x="701940" y="1015640"/>
                      <a:pt x="715804" y="1023074"/>
                      <a:pt x="728863" y="1031245"/>
                    </a:cubicBezTo>
                    <a:cubicBezTo>
                      <a:pt x="748687" y="1043300"/>
                      <a:pt x="767708" y="1056762"/>
                      <a:pt x="785589" y="1071696"/>
                    </a:cubicBezTo>
                    <a:cubicBezTo>
                      <a:pt x="821420" y="1101298"/>
                      <a:pt x="852763" y="1135856"/>
                      <a:pt x="878815" y="1174366"/>
                    </a:cubicBezTo>
                    <a:cubicBezTo>
                      <a:pt x="887522" y="1187157"/>
                      <a:pt x="895491" y="1200418"/>
                      <a:pt x="902925" y="1214281"/>
                    </a:cubicBezTo>
                    <a:cubicBezTo>
                      <a:pt x="910359" y="1227944"/>
                      <a:pt x="917124" y="1242142"/>
                      <a:pt x="923285" y="1256474"/>
                    </a:cubicBezTo>
                    <a:cubicBezTo>
                      <a:pt x="932527" y="1278106"/>
                      <a:pt x="940095" y="1300609"/>
                      <a:pt x="945989" y="1323648"/>
                    </a:cubicBezTo>
                    <a:cubicBezTo>
                      <a:pt x="955901" y="1362291"/>
                      <a:pt x="961259" y="1402742"/>
                      <a:pt x="961259" y="1444399"/>
                    </a:cubicBezTo>
                    <a:lnTo>
                      <a:pt x="961259" y="1141750"/>
                    </a:lnTo>
                    <a:lnTo>
                      <a:pt x="1261765" y="1141750"/>
                    </a:lnTo>
                    <a:lnTo>
                      <a:pt x="1261765" y="1927138"/>
                    </a:lnTo>
                    <a:lnTo>
                      <a:pt x="1925330" y="1927138"/>
                    </a:lnTo>
                    <a:lnTo>
                      <a:pt x="1925330" y="1927138"/>
                    </a:lnTo>
                    <a:lnTo>
                      <a:pt x="192533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0D3D4"/>
              </a:solidFill>
              <a:ln w="6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 sz="2315"/>
              </a:p>
            </p:txBody>
          </p:sp>
        </p:grpSp>
        <p:sp>
          <p:nvSpPr>
            <p:cNvPr id="18" name="Forma Livre: Forma 17">
              <a:extLst>
                <a:ext uri="{FF2B5EF4-FFF2-40B4-BE49-F238E27FC236}">
                  <a16:creationId xmlns:a16="http://schemas.microsoft.com/office/drawing/2014/main" id="{66364776-D807-4300-AC91-0736FB222409}"/>
                </a:ext>
              </a:extLst>
            </p:cNvPr>
            <p:cNvSpPr/>
            <p:nvPr/>
          </p:nvSpPr>
          <p:spPr>
            <a:xfrm>
              <a:off x="5108488" y="3644317"/>
              <a:ext cx="300506" cy="785388"/>
            </a:xfrm>
            <a:custGeom>
              <a:avLst/>
              <a:gdLst>
                <a:gd name="connsiteX0" fmla="*/ 0 w 300506"/>
                <a:gd name="connsiteY0" fmla="*/ 0 h 785388"/>
                <a:gd name="connsiteX1" fmla="*/ 300506 w 300506"/>
                <a:gd name="connsiteY1" fmla="*/ 0 h 785388"/>
                <a:gd name="connsiteX2" fmla="*/ 300506 w 300506"/>
                <a:gd name="connsiteY2" fmla="*/ 785389 h 785388"/>
                <a:gd name="connsiteX3" fmla="*/ 0 w 300506"/>
                <a:gd name="connsiteY3" fmla="*/ 785389 h 78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0506" h="785388">
                  <a:moveTo>
                    <a:pt x="0" y="0"/>
                  </a:moveTo>
                  <a:lnTo>
                    <a:pt x="300506" y="0"/>
                  </a:lnTo>
                  <a:lnTo>
                    <a:pt x="300506" y="785389"/>
                  </a:lnTo>
                  <a:lnTo>
                    <a:pt x="0" y="785389"/>
                  </a:lnTo>
                  <a:close/>
                </a:path>
              </a:pathLst>
            </a:custGeom>
            <a:solidFill>
              <a:srgbClr val="1F2A44"/>
            </a:solidFill>
            <a:ln w="66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19" name="Forma Livre: Forma 18">
              <a:extLst>
                <a:ext uri="{FF2B5EF4-FFF2-40B4-BE49-F238E27FC236}">
                  <a16:creationId xmlns:a16="http://schemas.microsoft.com/office/drawing/2014/main" id="{9A88D7A5-4D02-46F3-9540-DDC27B0BD5ED}"/>
                </a:ext>
              </a:extLst>
            </p:cNvPr>
            <p:cNvSpPr/>
            <p:nvPr/>
          </p:nvSpPr>
          <p:spPr>
            <a:xfrm>
              <a:off x="4147095" y="2502299"/>
              <a:ext cx="960856" cy="961660"/>
            </a:xfrm>
            <a:custGeom>
              <a:avLst/>
              <a:gdLst>
                <a:gd name="connsiteX0" fmla="*/ 0 w 960856"/>
                <a:gd name="connsiteY0" fmla="*/ 268 h 961660"/>
                <a:gd name="connsiteX1" fmla="*/ 0 w 960856"/>
                <a:gd name="connsiteY1" fmla="*/ 961660 h 961660"/>
                <a:gd name="connsiteX2" fmla="*/ 480797 w 960856"/>
                <a:gd name="connsiteY2" fmla="*/ 961660 h 961660"/>
                <a:gd name="connsiteX3" fmla="*/ 60074 w 960856"/>
                <a:gd name="connsiteY3" fmla="*/ 540938 h 961660"/>
                <a:gd name="connsiteX4" fmla="*/ 480797 w 960856"/>
                <a:gd name="connsiteY4" fmla="*/ 119144 h 961660"/>
                <a:gd name="connsiteX5" fmla="*/ 960857 w 960856"/>
                <a:gd name="connsiteY5" fmla="*/ 119144 h 961660"/>
                <a:gd name="connsiteX6" fmla="*/ 960857 w 960856"/>
                <a:gd name="connsiteY6" fmla="*/ 0 h 961660"/>
                <a:gd name="connsiteX7" fmla="*/ 0 w 960856"/>
                <a:gd name="connsiteY7" fmla="*/ 0 h 961660"/>
                <a:gd name="connsiteX8" fmla="*/ 0 w 960856"/>
                <a:gd name="connsiteY8" fmla="*/ 268 h 961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0856" h="961660">
                  <a:moveTo>
                    <a:pt x="0" y="268"/>
                  </a:moveTo>
                  <a:lnTo>
                    <a:pt x="0" y="961660"/>
                  </a:lnTo>
                  <a:lnTo>
                    <a:pt x="480797" y="961660"/>
                  </a:lnTo>
                  <a:cubicBezTo>
                    <a:pt x="248535" y="961660"/>
                    <a:pt x="60074" y="773400"/>
                    <a:pt x="60074" y="540938"/>
                  </a:cubicBezTo>
                  <a:cubicBezTo>
                    <a:pt x="60074" y="308476"/>
                    <a:pt x="248335" y="119144"/>
                    <a:pt x="480797" y="119144"/>
                  </a:cubicBezTo>
                  <a:lnTo>
                    <a:pt x="960857" y="119144"/>
                  </a:lnTo>
                  <a:lnTo>
                    <a:pt x="960857" y="0"/>
                  </a:lnTo>
                  <a:lnTo>
                    <a:pt x="0" y="0"/>
                  </a:lnTo>
                  <a:lnTo>
                    <a:pt x="0" y="268"/>
                  </a:lnTo>
                  <a:close/>
                </a:path>
              </a:pathLst>
            </a:custGeom>
            <a:solidFill>
              <a:srgbClr val="1F2A44"/>
            </a:solidFill>
            <a:ln w="66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20" name="Forma Livre: Forma 19">
              <a:extLst>
                <a:ext uri="{FF2B5EF4-FFF2-40B4-BE49-F238E27FC236}">
                  <a16:creationId xmlns:a16="http://schemas.microsoft.com/office/drawing/2014/main" id="{6E5488D4-4BC9-4A0E-B364-028C6AF69277}"/>
                </a:ext>
              </a:extLst>
            </p:cNvPr>
            <p:cNvSpPr/>
            <p:nvPr/>
          </p:nvSpPr>
          <p:spPr>
            <a:xfrm>
              <a:off x="4147095" y="3463959"/>
              <a:ext cx="961459" cy="965678"/>
            </a:xfrm>
            <a:custGeom>
              <a:avLst/>
              <a:gdLst>
                <a:gd name="connsiteX0" fmla="*/ 923486 w 961459"/>
                <a:gd name="connsiteY0" fmla="*/ 295082 h 965678"/>
                <a:gd name="connsiteX1" fmla="*/ 903126 w 961459"/>
                <a:gd name="connsiteY1" fmla="*/ 252889 h 965678"/>
                <a:gd name="connsiteX2" fmla="*/ 879016 w 961459"/>
                <a:gd name="connsiteY2" fmla="*/ 212973 h 965678"/>
                <a:gd name="connsiteX3" fmla="*/ 785790 w 961459"/>
                <a:gd name="connsiteY3" fmla="*/ 110304 h 965678"/>
                <a:gd name="connsiteX4" fmla="*/ 729064 w 961459"/>
                <a:gd name="connsiteY4" fmla="*/ 69853 h 965678"/>
                <a:gd name="connsiteX5" fmla="*/ 688144 w 961459"/>
                <a:gd name="connsiteY5" fmla="*/ 47484 h 965678"/>
                <a:gd name="connsiteX6" fmla="*/ 552324 w 961459"/>
                <a:gd name="connsiteY6" fmla="*/ 5492 h 965678"/>
                <a:gd name="connsiteX7" fmla="*/ 478721 w 961459"/>
                <a:gd name="connsiteY7" fmla="*/ 0 h 965678"/>
                <a:gd name="connsiteX8" fmla="*/ 0 w 961459"/>
                <a:gd name="connsiteY8" fmla="*/ 0 h 965678"/>
                <a:gd name="connsiteX9" fmla="*/ 0 w 961459"/>
                <a:gd name="connsiteY9" fmla="*/ 965679 h 965678"/>
                <a:gd name="connsiteX10" fmla="*/ 478520 w 961459"/>
                <a:gd name="connsiteY10" fmla="*/ 965679 h 965678"/>
                <a:gd name="connsiteX11" fmla="*/ 961459 w 961459"/>
                <a:gd name="connsiteY11" fmla="*/ 482739 h 965678"/>
                <a:gd name="connsiteX12" fmla="*/ 946190 w 961459"/>
                <a:gd name="connsiteY12" fmla="*/ 361988 h 965678"/>
                <a:gd name="connsiteX13" fmla="*/ 923486 w 961459"/>
                <a:gd name="connsiteY13" fmla="*/ 295082 h 965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61459" h="965678">
                  <a:moveTo>
                    <a:pt x="923486" y="295082"/>
                  </a:moveTo>
                  <a:cubicBezTo>
                    <a:pt x="917458" y="280750"/>
                    <a:pt x="910560" y="266552"/>
                    <a:pt x="903126" y="252889"/>
                  </a:cubicBezTo>
                  <a:cubicBezTo>
                    <a:pt x="895692" y="239227"/>
                    <a:pt x="887723" y="225966"/>
                    <a:pt x="879016" y="212973"/>
                  </a:cubicBezTo>
                  <a:cubicBezTo>
                    <a:pt x="852964" y="174531"/>
                    <a:pt x="821554" y="139906"/>
                    <a:pt x="785790" y="110304"/>
                  </a:cubicBezTo>
                  <a:cubicBezTo>
                    <a:pt x="767909" y="95570"/>
                    <a:pt x="748888" y="82109"/>
                    <a:pt x="729064" y="69853"/>
                  </a:cubicBezTo>
                  <a:cubicBezTo>
                    <a:pt x="715737" y="61883"/>
                    <a:pt x="702141" y="54449"/>
                    <a:pt x="688144" y="47484"/>
                  </a:cubicBezTo>
                  <a:cubicBezTo>
                    <a:pt x="645951" y="27124"/>
                    <a:pt x="600209" y="12725"/>
                    <a:pt x="552324" y="5492"/>
                  </a:cubicBezTo>
                  <a:cubicBezTo>
                    <a:pt x="528414" y="1741"/>
                    <a:pt x="503768" y="0"/>
                    <a:pt x="478721" y="0"/>
                  </a:cubicBezTo>
                  <a:lnTo>
                    <a:pt x="0" y="0"/>
                  </a:lnTo>
                  <a:lnTo>
                    <a:pt x="0" y="965679"/>
                  </a:lnTo>
                  <a:lnTo>
                    <a:pt x="478520" y="965679"/>
                  </a:lnTo>
                  <a:cubicBezTo>
                    <a:pt x="745138" y="965679"/>
                    <a:pt x="961459" y="749558"/>
                    <a:pt x="961459" y="482739"/>
                  </a:cubicBezTo>
                  <a:cubicBezTo>
                    <a:pt x="961459" y="441082"/>
                    <a:pt x="956169" y="400630"/>
                    <a:pt x="946190" y="361988"/>
                  </a:cubicBezTo>
                  <a:cubicBezTo>
                    <a:pt x="940162" y="339217"/>
                    <a:pt x="932527" y="316714"/>
                    <a:pt x="923486" y="295082"/>
                  </a:cubicBezTo>
                  <a:close/>
                </a:path>
              </a:pathLst>
            </a:custGeom>
            <a:solidFill>
              <a:srgbClr val="63B1BC"/>
            </a:solidFill>
            <a:ln w="66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21" name="Forma Livre: Forma 20">
              <a:extLst>
                <a:ext uri="{FF2B5EF4-FFF2-40B4-BE49-F238E27FC236}">
                  <a16:creationId xmlns:a16="http://schemas.microsoft.com/office/drawing/2014/main" id="{59711D54-F913-4508-B95D-E0512F273C85}"/>
                </a:ext>
              </a:extLst>
            </p:cNvPr>
            <p:cNvSpPr/>
            <p:nvPr/>
          </p:nvSpPr>
          <p:spPr>
            <a:xfrm>
              <a:off x="5107952" y="2502567"/>
              <a:ext cx="964607" cy="961392"/>
            </a:xfrm>
            <a:custGeom>
              <a:avLst/>
              <a:gdLst>
                <a:gd name="connsiteX0" fmla="*/ 480462 w 964607"/>
                <a:gd name="connsiteY0" fmla="*/ 119144 h 961392"/>
                <a:gd name="connsiteX1" fmla="*/ 901854 w 964607"/>
                <a:gd name="connsiteY1" fmla="*/ 540536 h 961392"/>
                <a:gd name="connsiteX2" fmla="*/ 499214 w 964607"/>
                <a:gd name="connsiteY2" fmla="*/ 961392 h 961392"/>
                <a:gd name="connsiteX3" fmla="*/ 964607 w 964607"/>
                <a:gd name="connsiteY3" fmla="*/ 961392 h 961392"/>
                <a:gd name="connsiteX4" fmla="*/ 964607 w 964607"/>
                <a:gd name="connsiteY4" fmla="*/ 0 h 961392"/>
                <a:gd name="connsiteX5" fmla="*/ 0 w 964607"/>
                <a:gd name="connsiteY5" fmla="*/ 0 h 961392"/>
                <a:gd name="connsiteX6" fmla="*/ 0 w 964607"/>
                <a:gd name="connsiteY6" fmla="*/ 119144 h 961392"/>
                <a:gd name="connsiteX7" fmla="*/ 480462 w 964607"/>
                <a:gd name="connsiteY7" fmla="*/ 119144 h 961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64607" h="961392">
                  <a:moveTo>
                    <a:pt x="480462" y="119144"/>
                  </a:moveTo>
                  <a:cubicBezTo>
                    <a:pt x="713259" y="119144"/>
                    <a:pt x="901854" y="307806"/>
                    <a:pt x="901854" y="540536"/>
                  </a:cubicBezTo>
                  <a:cubicBezTo>
                    <a:pt x="901854" y="766904"/>
                    <a:pt x="723305" y="951682"/>
                    <a:pt x="499214" y="961392"/>
                  </a:cubicBezTo>
                  <a:lnTo>
                    <a:pt x="964607" y="961392"/>
                  </a:lnTo>
                  <a:lnTo>
                    <a:pt x="964607" y="0"/>
                  </a:lnTo>
                  <a:lnTo>
                    <a:pt x="0" y="0"/>
                  </a:lnTo>
                  <a:lnTo>
                    <a:pt x="0" y="119144"/>
                  </a:lnTo>
                  <a:lnTo>
                    <a:pt x="480462" y="119144"/>
                  </a:lnTo>
                  <a:close/>
                </a:path>
              </a:pathLst>
            </a:custGeom>
            <a:solidFill>
              <a:srgbClr val="63B1BC"/>
            </a:solidFill>
            <a:ln w="66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22" name="Forma Livre: Forma 21">
              <a:extLst>
                <a:ext uri="{FF2B5EF4-FFF2-40B4-BE49-F238E27FC236}">
                  <a16:creationId xmlns:a16="http://schemas.microsoft.com/office/drawing/2014/main" id="{FCDF6F47-0B91-4D28-A18E-EC07E86091D6}"/>
                </a:ext>
              </a:extLst>
            </p:cNvPr>
            <p:cNvSpPr/>
            <p:nvPr/>
          </p:nvSpPr>
          <p:spPr>
            <a:xfrm>
              <a:off x="5107952" y="2621778"/>
              <a:ext cx="901853" cy="842783"/>
            </a:xfrm>
            <a:custGeom>
              <a:avLst/>
              <a:gdLst>
                <a:gd name="connsiteX0" fmla="*/ 0 w 901853"/>
                <a:gd name="connsiteY0" fmla="*/ 842784 h 842783"/>
                <a:gd name="connsiteX1" fmla="*/ 480462 w 901853"/>
                <a:gd name="connsiteY1" fmla="*/ 842784 h 842783"/>
                <a:gd name="connsiteX2" fmla="*/ 901854 w 901853"/>
                <a:gd name="connsiteY2" fmla="*/ 421392 h 842783"/>
                <a:gd name="connsiteX3" fmla="*/ 480462 w 901853"/>
                <a:gd name="connsiteY3" fmla="*/ 0 h 842783"/>
                <a:gd name="connsiteX4" fmla="*/ 0 w 901853"/>
                <a:gd name="connsiteY4" fmla="*/ 0 h 842783"/>
                <a:gd name="connsiteX5" fmla="*/ 0 w 901853"/>
                <a:gd name="connsiteY5" fmla="*/ 842784 h 842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01853" h="842783">
                  <a:moveTo>
                    <a:pt x="0" y="842784"/>
                  </a:moveTo>
                  <a:lnTo>
                    <a:pt x="480462" y="842784"/>
                  </a:lnTo>
                  <a:cubicBezTo>
                    <a:pt x="713259" y="842784"/>
                    <a:pt x="901854" y="654122"/>
                    <a:pt x="901854" y="421392"/>
                  </a:cubicBezTo>
                  <a:cubicBezTo>
                    <a:pt x="901854" y="188662"/>
                    <a:pt x="713192" y="0"/>
                    <a:pt x="480462" y="0"/>
                  </a:cubicBezTo>
                  <a:lnTo>
                    <a:pt x="0" y="0"/>
                  </a:lnTo>
                  <a:lnTo>
                    <a:pt x="0" y="842784"/>
                  </a:lnTo>
                  <a:close/>
                </a:path>
              </a:pathLst>
            </a:custGeom>
            <a:solidFill>
              <a:srgbClr val="1F2A44"/>
            </a:solidFill>
            <a:ln w="66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</p:grpSp>
    </p:spTree>
    <p:extLst>
      <p:ext uri="{BB962C8B-B14F-4D97-AF65-F5344CB8AC3E}">
        <p14:creationId xmlns:p14="http://schemas.microsoft.com/office/powerpoint/2010/main" val="12722890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 V2 Escuro">
    <p:bg>
      <p:bgPr>
        <a:solidFill>
          <a:srgbClr val="1C25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áfico 9">
            <a:extLst>
              <a:ext uri="{FF2B5EF4-FFF2-40B4-BE49-F238E27FC236}">
                <a16:creationId xmlns:a16="http://schemas.microsoft.com/office/drawing/2014/main" id="{04024E9A-1262-48A1-A387-6005E4A2A176}"/>
              </a:ext>
            </a:extLst>
          </p:cNvPr>
          <p:cNvGrpSpPr/>
          <p:nvPr/>
        </p:nvGrpSpPr>
        <p:grpSpPr>
          <a:xfrm>
            <a:off x="0" y="0"/>
            <a:ext cx="13442950" cy="7561263"/>
            <a:chOff x="0" y="0"/>
            <a:chExt cx="12192000" cy="6858000"/>
          </a:xfrm>
        </p:grpSpPr>
        <p:sp>
          <p:nvSpPr>
            <p:cNvPr id="3" name="Forma Livre: Forma 2">
              <a:extLst>
                <a:ext uri="{FF2B5EF4-FFF2-40B4-BE49-F238E27FC236}">
                  <a16:creationId xmlns:a16="http://schemas.microsoft.com/office/drawing/2014/main" id="{E4CB4F5D-76BF-4BAA-A123-50A4EA5AE6F6}"/>
                </a:ext>
              </a:extLst>
            </p:cNvPr>
            <p:cNvSpPr/>
            <p:nvPr/>
          </p:nvSpPr>
          <p:spPr>
            <a:xfrm>
              <a:off x="0" y="0"/>
              <a:ext cx="340359" cy="1903729"/>
            </a:xfrm>
            <a:custGeom>
              <a:avLst/>
              <a:gdLst>
                <a:gd name="connsiteX0" fmla="*/ 288925 w 340359"/>
                <a:gd name="connsiteY0" fmla="*/ 0 h 1903729"/>
                <a:gd name="connsiteX1" fmla="*/ 0 w 340359"/>
                <a:gd name="connsiteY1" fmla="*/ 0 h 1903729"/>
                <a:gd name="connsiteX2" fmla="*/ 0 w 340359"/>
                <a:gd name="connsiteY2" fmla="*/ 1903730 h 1903729"/>
                <a:gd name="connsiteX3" fmla="*/ 340360 w 340359"/>
                <a:gd name="connsiteY3" fmla="*/ 544195 h 1903729"/>
                <a:gd name="connsiteX4" fmla="*/ 288925 w 340359"/>
                <a:gd name="connsiteY4" fmla="*/ 0 h 1903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0359" h="1903729">
                  <a:moveTo>
                    <a:pt x="288925" y="0"/>
                  </a:moveTo>
                  <a:lnTo>
                    <a:pt x="0" y="0"/>
                  </a:lnTo>
                  <a:lnTo>
                    <a:pt x="0" y="1903730"/>
                  </a:lnTo>
                  <a:cubicBezTo>
                    <a:pt x="217170" y="1498600"/>
                    <a:pt x="340360" y="1035685"/>
                    <a:pt x="340360" y="544195"/>
                  </a:cubicBezTo>
                  <a:cubicBezTo>
                    <a:pt x="340360" y="358140"/>
                    <a:pt x="322580" y="175895"/>
                    <a:pt x="288925" y="0"/>
                  </a:cubicBezTo>
                  <a:close/>
                </a:path>
              </a:pathLst>
            </a:custGeom>
            <a:solidFill>
              <a:srgbClr val="63B1BC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4" name="Forma Livre: Forma 3">
              <a:extLst>
                <a:ext uri="{FF2B5EF4-FFF2-40B4-BE49-F238E27FC236}">
                  <a16:creationId xmlns:a16="http://schemas.microsoft.com/office/drawing/2014/main" id="{7CAE5BB3-75AB-41BD-8B9D-0FDDD806B407}"/>
                </a:ext>
              </a:extLst>
            </p:cNvPr>
            <p:cNvSpPr/>
            <p:nvPr/>
          </p:nvSpPr>
          <p:spPr>
            <a:xfrm>
              <a:off x="6089015" y="0"/>
              <a:ext cx="4686935" cy="355600"/>
            </a:xfrm>
            <a:custGeom>
              <a:avLst/>
              <a:gdLst>
                <a:gd name="connsiteX0" fmla="*/ 0 w 4686935"/>
                <a:gd name="connsiteY0" fmla="*/ 0 h 355600"/>
                <a:gd name="connsiteX1" fmla="*/ 4686935 w 4686935"/>
                <a:gd name="connsiteY1" fmla="*/ 0 h 355600"/>
                <a:gd name="connsiteX2" fmla="*/ 4686935 w 4686935"/>
                <a:gd name="connsiteY2" fmla="*/ 355600 h 355600"/>
                <a:gd name="connsiteX3" fmla="*/ 0 w 4686935"/>
                <a:gd name="connsiteY3" fmla="*/ 355600 h 355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86935" h="355600">
                  <a:moveTo>
                    <a:pt x="0" y="0"/>
                  </a:moveTo>
                  <a:lnTo>
                    <a:pt x="4686935" y="0"/>
                  </a:lnTo>
                  <a:lnTo>
                    <a:pt x="4686935" y="355600"/>
                  </a:lnTo>
                  <a:lnTo>
                    <a:pt x="0" y="355600"/>
                  </a:lnTo>
                  <a:close/>
                </a:path>
              </a:pathLst>
            </a:custGeom>
            <a:solidFill>
              <a:schemeClr val="accent2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5" name="Forma Livre: Forma 4">
              <a:extLst>
                <a:ext uri="{FF2B5EF4-FFF2-40B4-BE49-F238E27FC236}">
                  <a16:creationId xmlns:a16="http://schemas.microsoft.com/office/drawing/2014/main" id="{AD88EE2C-D2C2-446D-87E7-98F5B90A14E5}"/>
                </a:ext>
              </a:extLst>
            </p:cNvPr>
            <p:cNvSpPr/>
            <p:nvPr/>
          </p:nvSpPr>
          <p:spPr>
            <a:xfrm>
              <a:off x="11851640" y="650875"/>
              <a:ext cx="340359" cy="2769234"/>
            </a:xfrm>
            <a:custGeom>
              <a:avLst/>
              <a:gdLst>
                <a:gd name="connsiteX0" fmla="*/ 0 w 340359"/>
                <a:gd name="connsiteY0" fmla="*/ 0 h 2769234"/>
                <a:gd name="connsiteX1" fmla="*/ 0 w 340359"/>
                <a:gd name="connsiteY1" fmla="*/ 2769235 h 2769234"/>
                <a:gd name="connsiteX2" fmla="*/ 340360 w 340359"/>
                <a:gd name="connsiteY2" fmla="*/ 2769235 h 2769234"/>
                <a:gd name="connsiteX3" fmla="*/ 340360 w 340359"/>
                <a:gd name="connsiteY3" fmla="*/ 1149350 h 2769234"/>
                <a:gd name="connsiteX4" fmla="*/ 0 w 340359"/>
                <a:gd name="connsiteY4" fmla="*/ 0 h 2769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0359" h="2769234">
                  <a:moveTo>
                    <a:pt x="0" y="0"/>
                  </a:moveTo>
                  <a:lnTo>
                    <a:pt x="0" y="2769235"/>
                  </a:lnTo>
                  <a:lnTo>
                    <a:pt x="340360" y="2769235"/>
                  </a:lnTo>
                  <a:lnTo>
                    <a:pt x="340360" y="1149350"/>
                  </a:lnTo>
                  <a:cubicBezTo>
                    <a:pt x="140970" y="809625"/>
                    <a:pt x="19685" y="417830"/>
                    <a:pt x="0" y="0"/>
                  </a:cubicBezTo>
                  <a:close/>
                </a:path>
              </a:pathLst>
            </a:custGeom>
            <a:solidFill>
              <a:srgbClr val="63B1BC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6" name="Forma Livre: Forma 5">
              <a:extLst>
                <a:ext uri="{FF2B5EF4-FFF2-40B4-BE49-F238E27FC236}">
                  <a16:creationId xmlns:a16="http://schemas.microsoft.com/office/drawing/2014/main" id="{26D1AE59-57CE-49FF-9DC8-1A3A5CB72D99}"/>
                </a:ext>
              </a:extLst>
            </p:cNvPr>
            <p:cNvSpPr/>
            <p:nvPr/>
          </p:nvSpPr>
          <p:spPr>
            <a:xfrm>
              <a:off x="11848465" y="0"/>
              <a:ext cx="343534" cy="1800225"/>
            </a:xfrm>
            <a:custGeom>
              <a:avLst/>
              <a:gdLst>
                <a:gd name="connsiteX0" fmla="*/ 343535 w 343534"/>
                <a:gd name="connsiteY0" fmla="*/ 1800225 h 1800225"/>
                <a:gd name="connsiteX1" fmla="*/ 343535 w 343534"/>
                <a:gd name="connsiteY1" fmla="*/ 0 h 1800225"/>
                <a:gd name="connsiteX2" fmla="*/ 0 w 343534"/>
                <a:gd name="connsiteY2" fmla="*/ 0 h 1800225"/>
                <a:gd name="connsiteX3" fmla="*/ 0 w 343534"/>
                <a:gd name="connsiteY3" fmla="*/ 531495 h 1800225"/>
                <a:gd name="connsiteX4" fmla="*/ 2540 w 343534"/>
                <a:gd name="connsiteY4" fmla="*/ 650875 h 1800225"/>
                <a:gd name="connsiteX5" fmla="*/ 2540 w 343534"/>
                <a:gd name="connsiteY5" fmla="*/ 643255 h 1800225"/>
                <a:gd name="connsiteX6" fmla="*/ 343535 w 343534"/>
                <a:gd name="connsiteY6" fmla="*/ 1800225 h 180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3534" h="1800225">
                  <a:moveTo>
                    <a:pt x="343535" y="1800225"/>
                  </a:moveTo>
                  <a:lnTo>
                    <a:pt x="343535" y="0"/>
                  </a:lnTo>
                  <a:lnTo>
                    <a:pt x="0" y="0"/>
                  </a:lnTo>
                  <a:lnTo>
                    <a:pt x="0" y="531495"/>
                  </a:lnTo>
                  <a:cubicBezTo>
                    <a:pt x="0" y="571500"/>
                    <a:pt x="1270" y="611505"/>
                    <a:pt x="2540" y="650875"/>
                  </a:cubicBezTo>
                  <a:lnTo>
                    <a:pt x="2540" y="643255"/>
                  </a:lnTo>
                  <a:cubicBezTo>
                    <a:pt x="21590" y="1064260"/>
                    <a:pt x="143510" y="1457960"/>
                    <a:pt x="343535" y="1800225"/>
                  </a:cubicBezTo>
                  <a:close/>
                </a:path>
              </a:pathLst>
            </a:custGeom>
            <a:solidFill>
              <a:schemeClr val="accent2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 dirty="0"/>
            </a:p>
          </p:txBody>
        </p:sp>
        <p:sp>
          <p:nvSpPr>
            <p:cNvPr id="7" name="Forma Livre: Forma 6">
              <a:extLst>
                <a:ext uri="{FF2B5EF4-FFF2-40B4-BE49-F238E27FC236}">
                  <a16:creationId xmlns:a16="http://schemas.microsoft.com/office/drawing/2014/main" id="{0368425D-9A9D-4C26-B0E8-8E0DA2D16331}"/>
                </a:ext>
              </a:extLst>
            </p:cNvPr>
            <p:cNvSpPr/>
            <p:nvPr/>
          </p:nvSpPr>
          <p:spPr>
            <a:xfrm>
              <a:off x="11851640" y="643890"/>
              <a:ext cx="340359" cy="1156334"/>
            </a:xfrm>
            <a:custGeom>
              <a:avLst/>
              <a:gdLst>
                <a:gd name="connsiteX0" fmla="*/ 340360 w 340359"/>
                <a:gd name="connsiteY0" fmla="*/ 1156335 h 1156334"/>
                <a:gd name="connsiteX1" fmla="*/ 0 w 340359"/>
                <a:gd name="connsiteY1" fmla="*/ 0 h 1156334"/>
                <a:gd name="connsiteX2" fmla="*/ 0 w 340359"/>
                <a:gd name="connsiteY2" fmla="*/ 7620 h 1156334"/>
                <a:gd name="connsiteX3" fmla="*/ 340360 w 340359"/>
                <a:gd name="connsiteY3" fmla="*/ 1156335 h 1156334"/>
                <a:gd name="connsiteX4" fmla="*/ 340360 w 340359"/>
                <a:gd name="connsiteY4" fmla="*/ 1156335 h 1156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0359" h="1156334">
                  <a:moveTo>
                    <a:pt x="340360" y="1156335"/>
                  </a:moveTo>
                  <a:cubicBezTo>
                    <a:pt x="140335" y="814070"/>
                    <a:pt x="18415" y="420370"/>
                    <a:pt x="0" y="0"/>
                  </a:cubicBezTo>
                  <a:lnTo>
                    <a:pt x="0" y="7620"/>
                  </a:lnTo>
                  <a:cubicBezTo>
                    <a:pt x="19685" y="424815"/>
                    <a:pt x="140970" y="816610"/>
                    <a:pt x="340360" y="1156335"/>
                  </a:cubicBezTo>
                  <a:lnTo>
                    <a:pt x="340360" y="1156335"/>
                  </a:lnTo>
                  <a:close/>
                </a:path>
              </a:pathLst>
            </a:custGeom>
            <a:solidFill>
              <a:srgbClr val="1F2A44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8" name="Forma Livre: Forma 7">
              <a:extLst>
                <a:ext uri="{FF2B5EF4-FFF2-40B4-BE49-F238E27FC236}">
                  <a16:creationId xmlns:a16="http://schemas.microsoft.com/office/drawing/2014/main" id="{28108017-2118-4681-94C8-669A785576FB}"/>
                </a:ext>
              </a:extLst>
            </p:cNvPr>
            <p:cNvSpPr/>
            <p:nvPr/>
          </p:nvSpPr>
          <p:spPr>
            <a:xfrm>
              <a:off x="11851640" y="4954270"/>
              <a:ext cx="340359" cy="1903729"/>
            </a:xfrm>
            <a:custGeom>
              <a:avLst/>
              <a:gdLst>
                <a:gd name="connsiteX0" fmla="*/ 51435 w 340359"/>
                <a:gd name="connsiteY0" fmla="*/ 1903730 h 1903729"/>
                <a:gd name="connsiteX1" fmla="*/ 340360 w 340359"/>
                <a:gd name="connsiteY1" fmla="*/ 1903730 h 1903729"/>
                <a:gd name="connsiteX2" fmla="*/ 340360 w 340359"/>
                <a:gd name="connsiteY2" fmla="*/ 0 h 1903729"/>
                <a:gd name="connsiteX3" fmla="*/ 0 w 340359"/>
                <a:gd name="connsiteY3" fmla="*/ 1360170 h 1903729"/>
                <a:gd name="connsiteX4" fmla="*/ 51435 w 340359"/>
                <a:gd name="connsiteY4" fmla="*/ 1903730 h 1903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0359" h="1903729">
                  <a:moveTo>
                    <a:pt x="51435" y="1903730"/>
                  </a:moveTo>
                  <a:lnTo>
                    <a:pt x="340360" y="1903730"/>
                  </a:lnTo>
                  <a:lnTo>
                    <a:pt x="340360" y="0"/>
                  </a:lnTo>
                  <a:cubicBezTo>
                    <a:pt x="123190" y="405130"/>
                    <a:pt x="0" y="868045"/>
                    <a:pt x="0" y="1360170"/>
                  </a:cubicBezTo>
                  <a:cubicBezTo>
                    <a:pt x="0" y="1545590"/>
                    <a:pt x="17780" y="1727835"/>
                    <a:pt x="51435" y="1903730"/>
                  </a:cubicBezTo>
                  <a:close/>
                </a:path>
              </a:pathLst>
            </a:custGeom>
            <a:solidFill>
              <a:srgbClr val="63B1BC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11" name="Forma Livre: Forma 10">
              <a:extLst>
                <a:ext uri="{FF2B5EF4-FFF2-40B4-BE49-F238E27FC236}">
                  <a16:creationId xmlns:a16="http://schemas.microsoft.com/office/drawing/2014/main" id="{44A1E025-DB4A-4BFA-AADA-BBFCE91CDE51}"/>
                </a:ext>
              </a:extLst>
            </p:cNvPr>
            <p:cNvSpPr/>
            <p:nvPr/>
          </p:nvSpPr>
          <p:spPr>
            <a:xfrm>
              <a:off x="1416050" y="6502400"/>
              <a:ext cx="4686935" cy="355600"/>
            </a:xfrm>
            <a:custGeom>
              <a:avLst/>
              <a:gdLst>
                <a:gd name="connsiteX0" fmla="*/ 0 w 4686935"/>
                <a:gd name="connsiteY0" fmla="*/ 0 h 355600"/>
                <a:gd name="connsiteX1" fmla="*/ 4686935 w 4686935"/>
                <a:gd name="connsiteY1" fmla="*/ 0 h 355600"/>
                <a:gd name="connsiteX2" fmla="*/ 4686935 w 4686935"/>
                <a:gd name="connsiteY2" fmla="*/ 355600 h 355600"/>
                <a:gd name="connsiteX3" fmla="*/ 0 w 4686935"/>
                <a:gd name="connsiteY3" fmla="*/ 355600 h 355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86935" h="355600">
                  <a:moveTo>
                    <a:pt x="0" y="0"/>
                  </a:moveTo>
                  <a:lnTo>
                    <a:pt x="4686935" y="0"/>
                  </a:lnTo>
                  <a:lnTo>
                    <a:pt x="4686935" y="355600"/>
                  </a:lnTo>
                  <a:lnTo>
                    <a:pt x="0" y="355600"/>
                  </a:lnTo>
                  <a:close/>
                </a:path>
              </a:pathLst>
            </a:custGeom>
            <a:solidFill>
              <a:schemeClr val="accent2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12" name="Forma Livre: Forma 11">
              <a:extLst>
                <a:ext uri="{FF2B5EF4-FFF2-40B4-BE49-F238E27FC236}">
                  <a16:creationId xmlns:a16="http://schemas.microsoft.com/office/drawing/2014/main" id="{326037A0-471C-4A9B-A856-0255C5C642F9}"/>
                </a:ext>
              </a:extLst>
            </p:cNvPr>
            <p:cNvSpPr/>
            <p:nvPr/>
          </p:nvSpPr>
          <p:spPr>
            <a:xfrm>
              <a:off x="0" y="3437890"/>
              <a:ext cx="340359" cy="2769234"/>
            </a:xfrm>
            <a:custGeom>
              <a:avLst/>
              <a:gdLst>
                <a:gd name="connsiteX0" fmla="*/ 340360 w 340359"/>
                <a:gd name="connsiteY0" fmla="*/ 2769235 h 2769234"/>
                <a:gd name="connsiteX1" fmla="*/ 340360 w 340359"/>
                <a:gd name="connsiteY1" fmla="*/ 0 h 2769234"/>
                <a:gd name="connsiteX2" fmla="*/ 0 w 340359"/>
                <a:gd name="connsiteY2" fmla="*/ 0 h 2769234"/>
                <a:gd name="connsiteX3" fmla="*/ 0 w 340359"/>
                <a:gd name="connsiteY3" fmla="*/ 1619885 h 2769234"/>
                <a:gd name="connsiteX4" fmla="*/ 340360 w 340359"/>
                <a:gd name="connsiteY4" fmla="*/ 2769235 h 2769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0359" h="2769234">
                  <a:moveTo>
                    <a:pt x="340360" y="2769235"/>
                  </a:moveTo>
                  <a:lnTo>
                    <a:pt x="340360" y="0"/>
                  </a:lnTo>
                  <a:lnTo>
                    <a:pt x="0" y="0"/>
                  </a:lnTo>
                  <a:lnTo>
                    <a:pt x="0" y="1619885"/>
                  </a:lnTo>
                  <a:cubicBezTo>
                    <a:pt x="199390" y="1959610"/>
                    <a:pt x="320675" y="2351405"/>
                    <a:pt x="340360" y="2769235"/>
                  </a:cubicBezTo>
                  <a:close/>
                </a:path>
              </a:pathLst>
            </a:custGeom>
            <a:solidFill>
              <a:srgbClr val="63B1BC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13" name="Forma Livre: Forma 12">
              <a:extLst>
                <a:ext uri="{FF2B5EF4-FFF2-40B4-BE49-F238E27FC236}">
                  <a16:creationId xmlns:a16="http://schemas.microsoft.com/office/drawing/2014/main" id="{BFB4436F-D9D5-4AAF-A798-53F32CA8FC65}"/>
                </a:ext>
              </a:extLst>
            </p:cNvPr>
            <p:cNvSpPr/>
            <p:nvPr/>
          </p:nvSpPr>
          <p:spPr>
            <a:xfrm>
              <a:off x="0" y="5057775"/>
              <a:ext cx="343534" cy="1800225"/>
            </a:xfrm>
            <a:custGeom>
              <a:avLst/>
              <a:gdLst>
                <a:gd name="connsiteX0" fmla="*/ 0 w 343534"/>
                <a:gd name="connsiteY0" fmla="*/ 0 h 1800225"/>
                <a:gd name="connsiteX1" fmla="*/ 0 w 343534"/>
                <a:gd name="connsiteY1" fmla="*/ 1800225 h 1800225"/>
                <a:gd name="connsiteX2" fmla="*/ 343535 w 343534"/>
                <a:gd name="connsiteY2" fmla="*/ 1800225 h 1800225"/>
                <a:gd name="connsiteX3" fmla="*/ 343535 w 343534"/>
                <a:gd name="connsiteY3" fmla="*/ 1268730 h 1800225"/>
                <a:gd name="connsiteX4" fmla="*/ 340995 w 343534"/>
                <a:gd name="connsiteY4" fmla="*/ 1149350 h 1800225"/>
                <a:gd name="connsiteX5" fmla="*/ 340995 w 343534"/>
                <a:gd name="connsiteY5" fmla="*/ 1156970 h 1800225"/>
                <a:gd name="connsiteX6" fmla="*/ 0 w 343534"/>
                <a:gd name="connsiteY6" fmla="*/ 0 h 180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3534" h="1800225">
                  <a:moveTo>
                    <a:pt x="0" y="0"/>
                  </a:moveTo>
                  <a:lnTo>
                    <a:pt x="0" y="1800225"/>
                  </a:lnTo>
                  <a:lnTo>
                    <a:pt x="343535" y="1800225"/>
                  </a:lnTo>
                  <a:lnTo>
                    <a:pt x="343535" y="1268730"/>
                  </a:lnTo>
                  <a:cubicBezTo>
                    <a:pt x="343535" y="1228725"/>
                    <a:pt x="342265" y="1188720"/>
                    <a:pt x="340995" y="1149350"/>
                  </a:cubicBezTo>
                  <a:lnTo>
                    <a:pt x="340995" y="1156970"/>
                  </a:lnTo>
                  <a:cubicBezTo>
                    <a:pt x="321945" y="735965"/>
                    <a:pt x="200025" y="342265"/>
                    <a:pt x="0" y="0"/>
                  </a:cubicBezTo>
                  <a:close/>
                </a:path>
              </a:pathLst>
            </a:custGeom>
            <a:solidFill>
              <a:schemeClr val="accent2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14" name="Forma Livre: Forma 13">
              <a:extLst>
                <a:ext uri="{FF2B5EF4-FFF2-40B4-BE49-F238E27FC236}">
                  <a16:creationId xmlns:a16="http://schemas.microsoft.com/office/drawing/2014/main" id="{2BC87CB6-AD7D-4CFE-82D0-139A1EC3C079}"/>
                </a:ext>
              </a:extLst>
            </p:cNvPr>
            <p:cNvSpPr/>
            <p:nvPr/>
          </p:nvSpPr>
          <p:spPr>
            <a:xfrm>
              <a:off x="0" y="5057775"/>
              <a:ext cx="340359" cy="1156970"/>
            </a:xfrm>
            <a:custGeom>
              <a:avLst/>
              <a:gdLst>
                <a:gd name="connsiteX0" fmla="*/ 340360 w 340359"/>
                <a:gd name="connsiteY0" fmla="*/ 1156970 h 1156970"/>
                <a:gd name="connsiteX1" fmla="*/ 340360 w 340359"/>
                <a:gd name="connsiteY1" fmla="*/ 1149350 h 1156970"/>
                <a:gd name="connsiteX2" fmla="*/ 0 w 340359"/>
                <a:gd name="connsiteY2" fmla="*/ 0 h 1156970"/>
                <a:gd name="connsiteX3" fmla="*/ 0 w 340359"/>
                <a:gd name="connsiteY3" fmla="*/ 635 h 1156970"/>
                <a:gd name="connsiteX4" fmla="*/ 340360 w 340359"/>
                <a:gd name="connsiteY4" fmla="*/ 1156970 h 1156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0359" h="1156970">
                  <a:moveTo>
                    <a:pt x="340360" y="1156970"/>
                  </a:moveTo>
                  <a:lnTo>
                    <a:pt x="340360" y="1149350"/>
                  </a:lnTo>
                  <a:cubicBezTo>
                    <a:pt x="320675" y="731520"/>
                    <a:pt x="199390" y="339725"/>
                    <a:pt x="0" y="0"/>
                  </a:cubicBezTo>
                  <a:lnTo>
                    <a:pt x="0" y="635"/>
                  </a:lnTo>
                  <a:cubicBezTo>
                    <a:pt x="200025" y="342265"/>
                    <a:pt x="321945" y="735965"/>
                    <a:pt x="340360" y="1156970"/>
                  </a:cubicBezTo>
                  <a:close/>
                </a:path>
              </a:pathLst>
            </a:custGeom>
            <a:solidFill>
              <a:srgbClr val="1F2A44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</p:grpSp>
    </p:spTree>
    <p:extLst>
      <p:ext uri="{BB962C8B-B14F-4D97-AF65-F5344CB8AC3E}">
        <p14:creationId xmlns:p14="http://schemas.microsoft.com/office/powerpoint/2010/main" val="40538728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 V2 Clar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áfico 9">
            <a:extLst>
              <a:ext uri="{FF2B5EF4-FFF2-40B4-BE49-F238E27FC236}">
                <a16:creationId xmlns:a16="http://schemas.microsoft.com/office/drawing/2014/main" id="{04024E9A-1262-48A1-A387-6005E4A2A176}"/>
              </a:ext>
            </a:extLst>
          </p:cNvPr>
          <p:cNvGrpSpPr/>
          <p:nvPr/>
        </p:nvGrpSpPr>
        <p:grpSpPr>
          <a:xfrm>
            <a:off x="0" y="0"/>
            <a:ext cx="13442950" cy="7561263"/>
            <a:chOff x="0" y="0"/>
            <a:chExt cx="12192000" cy="6858000"/>
          </a:xfrm>
        </p:grpSpPr>
        <p:sp>
          <p:nvSpPr>
            <p:cNvPr id="3" name="Forma Livre: Forma 2">
              <a:extLst>
                <a:ext uri="{FF2B5EF4-FFF2-40B4-BE49-F238E27FC236}">
                  <a16:creationId xmlns:a16="http://schemas.microsoft.com/office/drawing/2014/main" id="{E4CB4F5D-76BF-4BAA-A123-50A4EA5AE6F6}"/>
                </a:ext>
              </a:extLst>
            </p:cNvPr>
            <p:cNvSpPr/>
            <p:nvPr/>
          </p:nvSpPr>
          <p:spPr>
            <a:xfrm>
              <a:off x="0" y="0"/>
              <a:ext cx="340359" cy="1903729"/>
            </a:xfrm>
            <a:custGeom>
              <a:avLst/>
              <a:gdLst>
                <a:gd name="connsiteX0" fmla="*/ 288925 w 340359"/>
                <a:gd name="connsiteY0" fmla="*/ 0 h 1903729"/>
                <a:gd name="connsiteX1" fmla="*/ 0 w 340359"/>
                <a:gd name="connsiteY1" fmla="*/ 0 h 1903729"/>
                <a:gd name="connsiteX2" fmla="*/ 0 w 340359"/>
                <a:gd name="connsiteY2" fmla="*/ 1903730 h 1903729"/>
                <a:gd name="connsiteX3" fmla="*/ 340360 w 340359"/>
                <a:gd name="connsiteY3" fmla="*/ 544195 h 1903729"/>
                <a:gd name="connsiteX4" fmla="*/ 288925 w 340359"/>
                <a:gd name="connsiteY4" fmla="*/ 0 h 1903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0359" h="1903729">
                  <a:moveTo>
                    <a:pt x="288925" y="0"/>
                  </a:moveTo>
                  <a:lnTo>
                    <a:pt x="0" y="0"/>
                  </a:lnTo>
                  <a:lnTo>
                    <a:pt x="0" y="1903730"/>
                  </a:lnTo>
                  <a:cubicBezTo>
                    <a:pt x="217170" y="1498600"/>
                    <a:pt x="340360" y="1035685"/>
                    <a:pt x="340360" y="544195"/>
                  </a:cubicBezTo>
                  <a:cubicBezTo>
                    <a:pt x="340360" y="358140"/>
                    <a:pt x="322580" y="175895"/>
                    <a:pt x="288925" y="0"/>
                  </a:cubicBezTo>
                  <a:close/>
                </a:path>
              </a:pathLst>
            </a:custGeom>
            <a:solidFill>
              <a:srgbClr val="63B1BC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4" name="Forma Livre: Forma 3">
              <a:extLst>
                <a:ext uri="{FF2B5EF4-FFF2-40B4-BE49-F238E27FC236}">
                  <a16:creationId xmlns:a16="http://schemas.microsoft.com/office/drawing/2014/main" id="{7CAE5BB3-75AB-41BD-8B9D-0FDDD806B407}"/>
                </a:ext>
              </a:extLst>
            </p:cNvPr>
            <p:cNvSpPr/>
            <p:nvPr/>
          </p:nvSpPr>
          <p:spPr>
            <a:xfrm>
              <a:off x="6089015" y="0"/>
              <a:ext cx="4686935" cy="355600"/>
            </a:xfrm>
            <a:custGeom>
              <a:avLst/>
              <a:gdLst>
                <a:gd name="connsiteX0" fmla="*/ 0 w 4686935"/>
                <a:gd name="connsiteY0" fmla="*/ 0 h 355600"/>
                <a:gd name="connsiteX1" fmla="*/ 4686935 w 4686935"/>
                <a:gd name="connsiteY1" fmla="*/ 0 h 355600"/>
                <a:gd name="connsiteX2" fmla="*/ 4686935 w 4686935"/>
                <a:gd name="connsiteY2" fmla="*/ 355600 h 355600"/>
                <a:gd name="connsiteX3" fmla="*/ 0 w 4686935"/>
                <a:gd name="connsiteY3" fmla="*/ 355600 h 355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86935" h="355600">
                  <a:moveTo>
                    <a:pt x="0" y="0"/>
                  </a:moveTo>
                  <a:lnTo>
                    <a:pt x="4686935" y="0"/>
                  </a:lnTo>
                  <a:lnTo>
                    <a:pt x="4686935" y="355600"/>
                  </a:lnTo>
                  <a:lnTo>
                    <a:pt x="0" y="355600"/>
                  </a:lnTo>
                  <a:close/>
                </a:path>
              </a:pathLst>
            </a:custGeom>
            <a:solidFill>
              <a:schemeClr val="accent2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5" name="Forma Livre: Forma 4">
              <a:extLst>
                <a:ext uri="{FF2B5EF4-FFF2-40B4-BE49-F238E27FC236}">
                  <a16:creationId xmlns:a16="http://schemas.microsoft.com/office/drawing/2014/main" id="{AD88EE2C-D2C2-446D-87E7-98F5B90A14E5}"/>
                </a:ext>
              </a:extLst>
            </p:cNvPr>
            <p:cNvSpPr/>
            <p:nvPr/>
          </p:nvSpPr>
          <p:spPr>
            <a:xfrm>
              <a:off x="11851640" y="650875"/>
              <a:ext cx="340359" cy="2769234"/>
            </a:xfrm>
            <a:custGeom>
              <a:avLst/>
              <a:gdLst>
                <a:gd name="connsiteX0" fmla="*/ 0 w 340359"/>
                <a:gd name="connsiteY0" fmla="*/ 0 h 2769234"/>
                <a:gd name="connsiteX1" fmla="*/ 0 w 340359"/>
                <a:gd name="connsiteY1" fmla="*/ 2769235 h 2769234"/>
                <a:gd name="connsiteX2" fmla="*/ 340360 w 340359"/>
                <a:gd name="connsiteY2" fmla="*/ 2769235 h 2769234"/>
                <a:gd name="connsiteX3" fmla="*/ 340360 w 340359"/>
                <a:gd name="connsiteY3" fmla="*/ 1149350 h 2769234"/>
                <a:gd name="connsiteX4" fmla="*/ 0 w 340359"/>
                <a:gd name="connsiteY4" fmla="*/ 0 h 2769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0359" h="2769234">
                  <a:moveTo>
                    <a:pt x="0" y="0"/>
                  </a:moveTo>
                  <a:lnTo>
                    <a:pt x="0" y="2769235"/>
                  </a:lnTo>
                  <a:lnTo>
                    <a:pt x="340360" y="2769235"/>
                  </a:lnTo>
                  <a:lnTo>
                    <a:pt x="340360" y="1149350"/>
                  </a:lnTo>
                  <a:cubicBezTo>
                    <a:pt x="140970" y="809625"/>
                    <a:pt x="19685" y="417830"/>
                    <a:pt x="0" y="0"/>
                  </a:cubicBezTo>
                  <a:close/>
                </a:path>
              </a:pathLst>
            </a:custGeom>
            <a:solidFill>
              <a:srgbClr val="63B1BC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6" name="Forma Livre: Forma 5">
              <a:extLst>
                <a:ext uri="{FF2B5EF4-FFF2-40B4-BE49-F238E27FC236}">
                  <a16:creationId xmlns:a16="http://schemas.microsoft.com/office/drawing/2014/main" id="{26D1AE59-57CE-49FF-9DC8-1A3A5CB72D99}"/>
                </a:ext>
              </a:extLst>
            </p:cNvPr>
            <p:cNvSpPr/>
            <p:nvPr/>
          </p:nvSpPr>
          <p:spPr>
            <a:xfrm>
              <a:off x="11848465" y="0"/>
              <a:ext cx="343534" cy="1800225"/>
            </a:xfrm>
            <a:custGeom>
              <a:avLst/>
              <a:gdLst>
                <a:gd name="connsiteX0" fmla="*/ 343535 w 343534"/>
                <a:gd name="connsiteY0" fmla="*/ 1800225 h 1800225"/>
                <a:gd name="connsiteX1" fmla="*/ 343535 w 343534"/>
                <a:gd name="connsiteY1" fmla="*/ 0 h 1800225"/>
                <a:gd name="connsiteX2" fmla="*/ 0 w 343534"/>
                <a:gd name="connsiteY2" fmla="*/ 0 h 1800225"/>
                <a:gd name="connsiteX3" fmla="*/ 0 w 343534"/>
                <a:gd name="connsiteY3" fmla="*/ 531495 h 1800225"/>
                <a:gd name="connsiteX4" fmla="*/ 2540 w 343534"/>
                <a:gd name="connsiteY4" fmla="*/ 650875 h 1800225"/>
                <a:gd name="connsiteX5" fmla="*/ 2540 w 343534"/>
                <a:gd name="connsiteY5" fmla="*/ 643255 h 1800225"/>
                <a:gd name="connsiteX6" fmla="*/ 343535 w 343534"/>
                <a:gd name="connsiteY6" fmla="*/ 1800225 h 180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3534" h="1800225">
                  <a:moveTo>
                    <a:pt x="343535" y="1800225"/>
                  </a:moveTo>
                  <a:lnTo>
                    <a:pt x="343535" y="0"/>
                  </a:lnTo>
                  <a:lnTo>
                    <a:pt x="0" y="0"/>
                  </a:lnTo>
                  <a:lnTo>
                    <a:pt x="0" y="531495"/>
                  </a:lnTo>
                  <a:cubicBezTo>
                    <a:pt x="0" y="571500"/>
                    <a:pt x="1270" y="611505"/>
                    <a:pt x="2540" y="650875"/>
                  </a:cubicBezTo>
                  <a:lnTo>
                    <a:pt x="2540" y="643255"/>
                  </a:lnTo>
                  <a:cubicBezTo>
                    <a:pt x="21590" y="1064260"/>
                    <a:pt x="143510" y="1457960"/>
                    <a:pt x="343535" y="1800225"/>
                  </a:cubicBezTo>
                  <a:close/>
                </a:path>
              </a:pathLst>
            </a:custGeom>
            <a:solidFill>
              <a:schemeClr val="accent2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 dirty="0"/>
            </a:p>
          </p:txBody>
        </p:sp>
        <p:sp>
          <p:nvSpPr>
            <p:cNvPr id="7" name="Forma Livre: Forma 6">
              <a:extLst>
                <a:ext uri="{FF2B5EF4-FFF2-40B4-BE49-F238E27FC236}">
                  <a16:creationId xmlns:a16="http://schemas.microsoft.com/office/drawing/2014/main" id="{0368425D-9A9D-4C26-B0E8-8E0DA2D16331}"/>
                </a:ext>
              </a:extLst>
            </p:cNvPr>
            <p:cNvSpPr/>
            <p:nvPr/>
          </p:nvSpPr>
          <p:spPr>
            <a:xfrm>
              <a:off x="11851640" y="643890"/>
              <a:ext cx="340359" cy="1156334"/>
            </a:xfrm>
            <a:custGeom>
              <a:avLst/>
              <a:gdLst>
                <a:gd name="connsiteX0" fmla="*/ 340360 w 340359"/>
                <a:gd name="connsiteY0" fmla="*/ 1156335 h 1156334"/>
                <a:gd name="connsiteX1" fmla="*/ 0 w 340359"/>
                <a:gd name="connsiteY1" fmla="*/ 0 h 1156334"/>
                <a:gd name="connsiteX2" fmla="*/ 0 w 340359"/>
                <a:gd name="connsiteY2" fmla="*/ 7620 h 1156334"/>
                <a:gd name="connsiteX3" fmla="*/ 340360 w 340359"/>
                <a:gd name="connsiteY3" fmla="*/ 1156335 h 1156334"/>
                <a:gd name="connsiteX4" fmla="*/ 340360 w 340359"/>
                <a:gd name="connsiteY4" fmla="*/ 1156335 h 1156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0359" h="1156334">
                  <a:moveTo>
                    <a:pt x="340360" y="1156335"/>
                  </a:moveTo>
                  <a:cubicBezTo>
                    <a:pt x="140335" y="814070"/>
                    <a:pt x="18415" y="420370"/>
                    <a:pt x="0" y="0"/>
                  </a:cubicBezTo>
                  <a:lnTo>
                    <a:pt x="0" y="7620"/>
                  </a:lnTo>
                  <a:cubicBezTo>
                    <a:pt x="19685" y="424815"/>
                    <a:pt x="140970" y="816610"/>
                    <a:pt x="340360" y="1156335"/>
                  </a:cubicBezTo>
                  <a:lnTo>
                    <a:pt x="340360" y="1156335"/>
                  </a:lnTo>
                  <a:close/>
                </a:path>
              </a:pathLst>
            </a:custGeom>
            <a:solidFill>
              <a:srgbClr val="1F2A44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8" name="Forma Livre: Forma 7">
              <a:extLst>
                <a:ext uri="{FF2B5EF4-FFF2-40B4-BE49-F238E27FC236}">
                  <a16:creationId xmlns:a16="http://schemas.microsoft.com/office/drawing/2014/main" id="{28108017-2118-4681-94C8-669A785576FB}"/>
                </a:ext>
              </a:extLst>
            </p:cNvPr>
            <p:cNvSpPr/>
            <p:nvPr/>
          </p:nvSpPr>
          <p:spPr>
            <a:xfrm>
              <a:off x="11851640" y="4954270"/>
              <a:ext cx="340359" cy="1903729"/>
            </a:xfrm>
            <a:custGeom>
              <a:avLst/>
              <a:gdLst>
                <a:gd name="connsiteX0" fmla="*/ 51435 w 340359"/>
                <a:gd name="connsiteY0" fmla="*/ 1903730 h 1903729"/>
                <a:gd name="connsiteX1" fmla="*/ 340360 w 340359"/>
                <a:gd name="connsiteY1" fmla="*/ 1903730 h 1903729"/>
                <a:gd name="connsiteX2" fmla="*/ 340360 w 340359"/>
                <a:gd name="connsiteY2" fmla="*/ 0 h 1903729"/>
                <a:gd name="connsiteX3" fmla="*/ 0 w 340359"/>
                <a:gd name="connsiteY3" fmla="*/ 1360170 h 1903729"/>
                <a:gd name="connsiteX4" fmla="*/ 51435 w 340359"/>
                <a:gd name="connsiteY4" fmla="*/ 1903730 h 1903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0359" h="1903729">
                  <a:moveTo>
                    <a:pt x="51435" y="1903730"/>
                  </a:moveTo>
                  <a:lnTo>
                    <a:pt x="340360" y="1903730"/>
                  </a:lnTo>
                  <a:lnTo>
                    <a:pt x="340360" y="0"/>
                  </a:lnTo>
                  <a:cubicBezTo>
                    <a:pt x="123190" y="405130"/>
                    <a:pt x="0" y="868045"/>
                    <a:pt x="0" y="1360170"/>
                  </a:cubicBezTo>
                  <a:cubicBezTo>
                    <a:pt x="0" y="1545590"/>
                    <a:pt x="17780" y="1727835"/>
                    <a:pt x="51435" y="1903730"/>
                  </a:cubicBezTo>
                  <a:close/>
                </a:path>
              </a:pathLst>
            </a:custGeom>
            <a:solidFill>
              <a:srgbClr val="63B1BC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11" name="Forma Livre: Forma 10">
              <a:extLst>
                <a:ext uri="{FF2B5EF4-FFF2-40B4-BE49-F238E27FC236}">
                  <a16:creationId xmlns:a16="http://schemas.microsoft.com/office/drawing/2014/main" id="{44A1E025-DB4A-4BFA-AADA-BBFCE91CDE51}"/>
                </a:ext>
              </a:extLst>
            </p:cNvPr>
            <p:cNvSpPr/>
            <p:nvPr/>
          </p:nvSpPr>
          <p:spPr>
            <a:xfrm>
              <a:off x="1416050" y="6502400"/>
              <a:ext cx="4686935" cy="355600"/>
            </a:xfrm>
            <a:custGeom>
              <a:avLst/>
              <a:gdLst>
                <a:gd name="connsiteX0" fmla="*/ 0 w 4686935"/>
                <a:gd name="connsiteY0" fmla="*/ 0 h 355600"/>
                <a:gd name="connsiteX1" fmla="*/ 4686935 w 4686935"/>
                <a:gd name="connsiteY1" fmla="*/ 0 h 355600"/>
                <a:gd name="connsiteX2" fmla="*/ 4686935 w 4686935"/>
                <a:gd name="connsiteY2" fmla="*/ 355600 h 355600"/>
                <a:gd name="connsiteX3" fmla="*/ 0 w 4686935"/>
                <a:gd name="connsiteY3" fmla="*/ 355600 h 355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86935" h="355600">
                  <a:moveTo>
                    <a:pt x="0" y="0"/>
                  </a:moveTo>
                  <a:lnTo>
                    <a:pt x="4686935" y="0"/>
                  </a:lnTo>
                  <a:lnTo>
                    <a:pt x="4686935" y="355600"/>
                  </a:lnTo>
                  <a:lnTo>
                    <a:pt x="0" y="355600"/>
                  </a:lnTo>
                  <a:close/>
                </a:path>
              </a:pathLst>
            </a:custGeom>
            <a:solidFill>
              <a:schemeClr val="accent2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12" name="Forma Livre: Forma 11">
              <a:extLst>
                <a:ext uri="{FF2B5EF4-FFF2-40B4-BE49-F238E27FC236}">
                  <a16:creationId xmlns:a16="http://schemas.microsoft.com/office/drawing/2014/main" id="{326037A0-471C-4A9B-A856-0255C5C642F9}"/>
                </a:ext>
              </a:extLst>
            </p:cNvPr>
            <p:cNvSpPr/>
            <p:nvPr/>
          </p:nvSpPr>
          <p:spPr>
            <a:xfrm>
              <a:off x="0" y="3437890"/>
              <a:ext cx="340359" cy="2769234"/>
            </a:xfrm>
            <a:custGeom>
              <a:avLst/>
              <a:gdLst>
                <a:gd name="connsiteX0" fmla="*/ 340360 w 340359"/>
                <a:gd name="connsiteY0" fmla="*/ 2769235 h 2769234"/>
                <a:gd name="connsiteX1" fmla="*/ 340360 w 340359"/>
                <a:gd name="connsiteY1" fmla="*/ 0 h 2769234"/>
                <a:gd name="connsiteX2" fmla="*/ 0 w 340359"/>
                <a:gd name="connsiteY2" fmla="*/ 0 h 2769234"/>
                <a:gd name="connsiteX3" fmla="*/ 0 w 340359"/>
                <a:gd name="connsiteY3" fmla="*/ 1619885 h 2769234"/>
                <a:gd name="connsiteX4" fmla="*/ 340360 w 340359"/>
                <a:gd name="connsiteY4" fmla="*/ 2769235 h 2769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0359" h="2769234">
                  <a:moveTo>
                    <a:pt x="340360" y="2769235"/>
                  </a:moveTo>
                  <a:lnTo>
                    <a:pt x="340360" y="0"/>
                  </a:lnTo>
                  <a:lnTo>
                    <a:pt x="0" y="0"/>
                  </a:lnTo>
                  <a:lnTo>
                    <a:pt x="0" y="1619885"/>
                  </a:lnTo>
                  <a:cubicBezTo>
                    <a:pt x="199390" y="1959610"/>
                    <a:pt x="320675" y="2351405"/>
                    <a:pt x="340360" y="2769235"/>
                  </a:cubicBezTo>
                  <a:close/>
                </a:path>
              </a:pathLst>
            </a:custGeom>
            <a:solidFill>
              <a:srgbClr val="63B1BC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13" name="Forma Livre: Forma 12">
              <a:extLst>
                <a:ext uri="{FF2B5EF4-FFF2-40B4-BE49-F238E27FC236}">
                  <a16:creationId xmlns:a16="http://schemas.microsoft.com/office/drawing/2014/main" id="{BFB4436F-D9D5-4AAF-A798-53F32CA8FC65}"/>
                </a:ext>
              </a:extLst>
            </p:cNvPr>
            <p:cNvSpPr/>
            <p:nvPr/>
          </p:nvSpPr>
          <p:spPr>
            <a:xfrm>
              <a:off x="0" y="5057775"/>
              <a:ext cx="343534" cy="1800225"/>
            </a:xfrm>
            <a:custGeom>
              <a:avLst/>
              <a:gdLst>
                <a:gd name="connsiteX0" fmla="*/ 0 w 343534"/>
                <a:gd name="connsiteY0" fmla="*/ 0 h 1800225"/>
                <a:gd name="connsiteX1" fmla="*/ 0 w 343534"/>
                <a:gd name="connsiteY1" fmla="*/ 1800225 h 1800225"/>
                <a:gd name="connsiteX2" fmla="*/ 343535 w 343534"/>
                <a:gd name="connsiteY2" fmla="*/ 1800225 h 1800225"/>
                <a:gd name="connsiteX3" fmla="*/ 343535 w 343534"/>
                <a:gd name="connsiteY3" fmla="*/ 1268730 h 1800225"/>
                <a:gd name="connsiteX4" fmla="*/ 340995 w 343534"/>
                <a:gd name="connsiteY4" fmla="*/ 1149350 h 1800225"/>
                <a:gd name="connsiteX5" fmla="*/ 340995 w 343534"/>
                <a:gd name="connsiteY5" fmla="*/ 1156970 h 1800225"/>
                <a:gd name="connsiteX6" fmla="*/ 0 w 343534"/>
                <a:gd name="connsiteY6" fmla="*/ 0 h 180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3534" h="1800225">
                  <a:moveTo>
                    <a:pt x="0" y="0"/>
                  </a:moveTo>
                  <a:lnTo>
                    <a:pt x="0" y="1800225"/>
                  </a:lnTo>
                  <a:lnTo>
                    <a:pt x="343535" y="1800225"/>
                  </a:lnTo>
                  <a:lnTo>
                    <a:pt x="343535" y="1268730"/>
                  </a:lnTo>
                  <a:cubicBezTo>
                    <a:pt x="343535" y="1228725"/>
                    <a:pt x="342265" y="1188720"/>
                    <a:pt x="340995" y="1149350"/>
                  </a:cubicBezTo>
                  <a:lnTo>
                    <a:pt x="340995" y="1156970"/>
                  </a:lnTo>
                  <a:cubicBezTo>
                    <a:pt x="321945" y="735965"/>
                    <a:pt x="200025" y="342265"/>
                    <a:pt x="0" y="0"/>
                  </a:cubicBezTo>
                  <a:close/>
                </a:path>
              </a:pathLst>
            </a:custGeom>
            <a:solidFill>
              <a:schemeClr val="accent2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  <p:sp>
          <p:nvSpPr>
            <p:cNvPr id="14" name="Forma Livre: Forma 13">
              <a:extLst>
                <a:ext uri="{FF2B5EF4-FFF2-40B4-BE49-F238E27FC236}">
                  <a16:creationId xmlns:a16="http://schemas.microsoft.com/office/drawing/2014/main" id="{2BC87CB6-AD7D-4CFE-82D0-139A1EC3C079}"/>
                </a:ext>
              </a:extLst>
            </p:cNvPr>
            <p:cNvSpPr/>
            <p:nvPr/>
          </p:nvSpPr>
          <p:spPr>
            <a:xfrm>
              <a:off x="0" y="5057775"/>
              <a:ext cx="340359" cy="1156970"/>
            </a:xfrm>
            <a:custGeom>
              <a:avLst/>
              <a:gdLst>
                <a:gd name="connsiteX0" fmla="*/ 340360 w 340359"/>
                <a:gd name="connsiteY0" fmla="*/ 1156970 h 1156970"/>
                <a:gd name="connsiteX1" fmla="*/ 340360 w 340359"/>
                <a:gd name="connsiteY1" fmla="*/ 1149350 h 1156970"/>
                <a:gd name="connsiteX2" fmla="*/ 0 w 340359"/>
                <a:gd name="connsiteY2" fmla="*/ 0 h 1156970"/>
                <a:gd name="connsiteX3" fmla="*/ 0 w 340359"/>
                <a:gd name="connsiteY3" fmla="*/ 635 h 1156970"/>
                <a:gd name="connsiteX4" fmla="*/ 340360 w 340359"/>
                <a:gd name="connsiteY4" fmla="*/ 1156970 h 1156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0359" h="1156970">
                  <a:moveTo>
                    <a:pt x="340360" y="1156970"/>
                  </a:moveTo>
                  <a:lnTo>
                    <a:pt x="340360" y="1149350"/>
                  </a:lnTo>
                  <a:cubicBezTo>
                    <a:pt x="320675" y="731520"/>
                    <a:pt x="199390" y="339725"/>
                    <a:pt x="0" y="0"/>
                  </a:cubicBezTo>
                  <a:lnTo>
                    <a:pt x="0" y="635"/>
                  </a:lnTo>
                  <a:cubicBezTo>
                    <a:pt x="200025" y="342265"/>
                    <a:pt x="321945" y="735965"/>
                    <a:pt x="340360" y="1156970"/>
                  </a:cubicBezTo>
                  <a:close/>
                </a:path>
              </a:pathLst>
            </a:custGeom>
            <a:solidFill>
              <a:srgbClr val="1F2A44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315"/>
            </a:p>
          </p:txBody>
        </p:sp>
      </p:grpSp>
    </p:spTree>
    <p:extLst>
      <p:ext uri="{BB962C8B-B14F-4D97-AF65-F5344CB8AC3E}">
        <p14:creationId xmlns:p14="http://schemas.microsoft.com/office/powerpoint/2010/main" val="1388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7.xml"/><Relationship Id="rId21" Type="http://schemas.openxmlformats.org/officeDocument/2006/relationships/slideLayout" Target="../slideLayouts/slideLayout25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6.xml"/><Relationship Id="rId16" Type="http://schemas.openxmlformats.org/officeDocument/2006/relationships/slideLayout" Target="../slideLayouts/slideLayout20.xml"/><Relationship Id="rId20" Type="http://schemas.openxmlformats.org/officeDocument/2006/relationships/slideLayout" Target="../slideLayouts/slideLayout24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24" Type="http://schemas.openxmlformats.org/officeDocument/2006/relationships/theme" Target="../theme/theme3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23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14.xml"/><Relationship Id="rId19" Type="http://schemas.openxmlformats.org/officeDocument/2006/relationships/slideLayout" Target="../slideLayouts/slideLayout23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Relationship Id="rId22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89820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  <p:sldLayoutId id="2147483686" r:id="rId16"/>
    <p:sldLayoutId id="2147483687" r:id="rId17"/>
    <p:sldLayoutId id="2147483688" r:id="rId18"/>
    <p:sldLayoutId id="2147483689" r:id="rId19"/>
    <p:sldLayoutId id="2147483690" r:id="rId20"/>
    <p:sldLayoutId id="2147483691" r:id="rId21"/>
    <p:sldLayoutId id="2147483692" r:id="rId22"/>
    <p:sldLayoutId id="2147483693" r:id="rId23"/>
  </p:sldLayoutIdLst>
  <p:txStyles>
    <p:titleStyle>
      <a:lvl1pPr algn="l" defTabSz="1008126" rtl="0" eaLnBrk="1" latinLnBrk="0" hangingPunct="1">
        <a:lnSpc>
          <a:spcPct val="90000"/>
        </a:lnSpc>
        <a:spcBef>
          <a:spcPct val="0"/>
        </a:spcBef>
        <a:buNone/>
        <a:defRPr sz="485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2032" indent="-252032" algn="l" defTabSz="1008126" rtl="0" eaLnBrk="1" latinLnBrk="0" hangingPunct="1">
        <a:lnSpc>
          <a:spcPct val="90000"/>
        </a:lnSpc>
        <a:spcBef>
          <a:spcPts val="1103"/>
        </a:spcBef>
        <a:buFont typeface="Arial" panose="020B0604020202020204" pitchFamily="34" charset="0"/>
        <a:buChar char="•"/>
        <a:defRPr sz="3087" kern="1200">
          <a:solidFill>
            <a:schemeClr val="tx1"/>
          </a:solidFill>
          <a:latin typeface="+mn-lt"/>
          <a:ea typeface="+mn-ea"/>
          <a:cs typeface="+mn-cs"/>
        </a:defRPr>
      </a:lvl1pPr>
      <a:lvl2pPr marL="756095" indent="-252032" algn="l" defTabSz="1008126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260158" indent="-252032" algn="l" defTabSz="1008126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4221" indent="-252032" algn="l" defTabSz="1008126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268284" indent="-252032" algn="l" defTabSz="1008126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772347" indent="-252032" algn="l" defTabSz="1008126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276410" indent="-252032" algn="l" defTabSz="1008126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780473" indent="-252032" algn="l" defTabSz="1008126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284536" indent="-252032" algn="l" defTabSz="1008126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126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189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315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378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8441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2504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15.xml"/><Relationship Id="rId4" Type="http://schemas.openxmlformats.org/officeDocument/2006/relationships/tags" Target="../tags/tag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5.xml"/><Relationship Id="rId7" Type="http://schemas.openxmlformats.org/officeDocument/2006/relationships/oleObject" Target="../embeddings/oleObject1.bin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15.xml"/><Relationship Id="rId4" Type="http://schemas.openxmlformats.org/officeDocument/2006/relationships/tags" Target="../tags/tag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00429D6D-7723-4D53-9F5C-12FAD3F96980}"/>
              </a:ext>
            </a:extLst>
          </p:cNvPr>
          <p:cNvSpPr txBox="1"/>
          <p:nvPr/>
        </p:nvSpPr>
        <p:spPr>
          <a:xfrm>
            <a:off x="6661150" y="3996655"/>
            <a:ext cx="4258054" cy="567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08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087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us </a:t>
            </a:r>
            <a:r>
              <a:rPr kumimoji="0" lang="pt-BR" sz="3087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port</a:t>
            </a:r>
            <a:endParaRPr kumimoji="0" lang="pt-BR" sz="3087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99284EEA-0384-46C1-BD2F-D94B3E254EDD}"/>
              </a:ext>
            </a:extLst>
          </p:cNvPr>
          <p:cNvSpPr txBox="1"/>
          <p:nvPr/>
        </p:nvSpPr>
        <p:spPr>
          <a:xfrm>
            <a:off x="10465891" y="684287"/>
            <a:ext cx="4258054" cy="10424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08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087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união </a:t>
            </a:r>
          </a:p>
          <a:p>
            <a:pPr marL="0" marR="0" lvl="0" indent="0" algn="l" defTabSz="1008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087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manal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E71F92E8-4576-4147-BFE3-3F3D2C64C298}"/>
              </a:ext>
            </a:extLst>
          </p:cNvPr>
          <p:cNvSpPr txBox="1"/>
          <p:nvPr/>
        </p:nvSpPr>
        <p:spPr>
          <a:xfrm>
            <a:off x="6721475" y="4716735"/>
            <a:ext cx="4258054" cy="567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08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087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upo - </a:t>
            </a:r>
          </a:p>
        </p:txBody>
      </p:sp>
    </p:spTree>
    <p:extLst>
      <p:ext uri="{BB962C8B-B14F-4D97-AF65-F5344CB8AC3E}">
        <p14:creationId xmlns:p14="http://schemas.microsoft.com/office/powerpoint/2010/main" val="40286370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/>
          <p:cNvSpPr/>
          <p:nvPr/>
        </p:nvSpPr>
        <p:spPr>
          <a:xfrm>
            <a:off x="6804883" y="1106495"/>
            <a:ext cx="6209639" cy="2235805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5844" rtlCol="0" anchor="t"/>
          <a:lstStyle/>
          <a:p>
            <a:pPr defTabSz="672130">
              <a:spcAft>
                <a:spcPts val="882"/>
              </a:spcAft>
            </a:pPr>
            <a:endParaRPr lang="pt-BR" sz="1470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</p:txBody>
      </p:sp>
      <p:sp>
        <p:nvSpPr>
          <p:cNvPr id="73" name="Round Same Side Corner Rectangle 3"/>
          <p:cNvSpPr/>
          <p:nvPr/>
        </p:nvSpPr>
        <p:spPr>
          <a:xfrm rot="10800000">
            <a:off x="7873603" y="64321"/>
            <a:ext cx="5103602" cy="689698"/>
          </a:xfrm>
          <a:prstGeom prst="round2SameRect">
            <a:avLst>
              <a:gd name="adj1" fmla="val 10565"/>
              <a:gd name="adj2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72130"/>
            <a:endParaRPr lang="en-US" sz="1176" dirty="0">
              <a:solidFill>
                <a:prstClr val="black"/>
              </a:solidFill>
              <a:latin typeface="Simplon BP Regular"/>
              <a:cs typeface="Simplon BP Regular"/>
            </a:endParaRPr>
          </a:p>
        </p:txBody>
      </p:sp>
      <p:grpSp>
        <p:nvGrpSpPr>
          <p:cNvPr id="77" name="Group 9"/>
          <p:cNvGrpSpPr/>
          <p:nvPr/>
        </p:nvGrpSpPr>
        <p:grpSpPr>
          <a:xfrm>
            <a:off x="11822773" y="245656"/>
            <a:ext cx="899678" cy="316238"/>
            <a:chOff x="6694192" y="85799"/>
            <a:chExt cx="612000" cy="215119"/>
          </a:xfrm>
        </p:grpSpPr>
        <p:sp>
          <p:nvSpPr>
            <p:cNvPr id="111" name="Rounded Rectangle 116"/>
            <p:cNvSpPr/>
            <p:nvPr/>
          </p:nvSpPr>
          <p:spPr>
            <a:xfrm>
              <a:off x="6694192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52922" tIns="52922" rIns="52922" bIns="0" rtlCol="0" anchor="b"/>
            <a:lstStyle/>
            <a:p>
              <a:pPr algn="ctr" defTabSz="672130"/>
              <a:endParaRPr lang="en-US" sz="1176" b="1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13" name="Oval 114"/>
            <p:cNvSpPr>
              <a:spLocks noChangeAspect="1"/>
            </p:cNvSpPr>
            <p:nvPr/>
          </p:nvSpPr>
          <p:spPr>
            <a:xfrm>
              <a:off x="6926428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18" name="Oval 115"/>
            <p:cNvSpPr>
              <a:spLocks noChangeAspect="1"/>
            </p:cNvSpPr>
            <p:nvPr/>
          </p:nvSpPr>
          <p:spPr>
            <a:xfrm>
              <a:off x="7108521" y="121358"/>
              <a:ext cx="143806" cy="144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78" name="TextBox 118"/>
          <p:cNvSpPr txBox="1"/>
          <p:nvPr/>
        </p:nvSpPr>
        <p:spPr>
          <a:xfrm>
            <a:off x="11822773" y="576471"/>
            <a:ext cx="899678" cy="1798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52922" tIns="52922" rIns="52922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672130"/>
            <a:r>
              <a:rPr lang="pt-BR" sz="1176" b="0" dirty="0">
                <a:solidFill>
                  <a:prstClr val="black"/>
                </a:solidFill>
                <a:latin typeface="Simplon BP Bold" pitchFamily="2" charset="0"/>
              </a:rPr>
              <a:t>Documentação</a:t>
            </a:r>
          </a:p>
        </p:txBody>
      </p:sp>
      <p:grpSp>
        <p:nvGrpSpPr>
          <p:cNvPr id="79" name="Group 8"/>
          <p:cNvGrpSpPr/>
          <p:nvPr/>
        </p:nvGrpSpPr>
        <p:grpSpPr>
          <a:xfrm>
            <a:off x="10852497" y="245656"/>
            <a:ext cx="899678" cy="316238"/>
            <a:chOff x="6034168" y="85799"/>
            <a:chExt cx="612000" cy="215119"/>
          </a:xfrm>
        </p:grpSpPr>
        <p:sp>
          <p:nvSpPr>
            <p:cNvPr id="107" name="Rounded Rectangle 122"/>
            <p:cNvSpPr/>
            <p:nvPr/>
          </p:nvSpPr>
          <p:spPr>
            <a:xfrm>
              <a:off x="6034168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52922" tIns="52922" rIns="52922" bIns="0" rtlCol="0" anchor="b"/>
            <a:lstStyle/>
            <a:p>
              <a:pPr algn="ctr" defTabSz="672130"/>
              <a:endParaRPr lang="en-US" sz="1176" b="1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8" name="Oval 119"/>
            <p:cNvSpPr>
              <a:spLocks noChangeAspect="1"/>
            </p:cNvSpPr>
            <p:nvPr/>
          </p:nvSpPr>
          <p:spPr>
            <a:xfrm>
              <a:off x="6083150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9" name="Oval 120"/>
            <p:cNvSpPr>
              <a:spLocks noChangeAspect="1"/>
            </p:cNvSpPr>
            <p:nvPr/>
          </p:nvSpPr>
          <p:spPr>
            <a:xfrm>
              <a:off x="6266404" y="121358"/>
              <a:ext cx="143806" cy="144000"/>
            </a:xfrm>
            <a:prstGeom prst="ellipse">
              <a:avLst/>
            </a:prstGeom>
            <a:solidFill>
              <a:srgbClr val="FFC000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10" name="Oval 121"/>
            <p:cNvSpPr>
              <a:spLocks noChangeAspect="1"/>
            </p:cNvSpPr>
            <p:nvPr/>
          </p:nvSpPr>
          <p:spPr>
            <a:xfrm>
              <a:off x="6448497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80" name="TextBox 123"/>
          <p:cNvSpPr txBox="1"/>
          <p:nvPr/>
        </p:nvSpPr>
        <p:spPr>
          <a:xfrm>
            <a:off x="10852497" y="576471"/>
            <a:ext cx="899678" cy="1798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52922" tIns="52922" rIns="52922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672130"/>
            <a:r>
              <a:rPr lang="pt-BR" sz="1176" b="0" dirty="0">
                <a:solidFill>
                  <a:prstClr val="black"/>
                </a:solidFill>
                <a:latin typeface="Simplon BP Bold" pitchFamily="2" charset="0"/>
              </a:rPr>
              <a:t>Plataforma</a:t>
            </a:r>
          </a:p>
        </p:txBody>
      </p:sp>
      <p:grpSp>
        <p:nvGrpSpPr>
          <p:cNvPr id="81" name="Group 7"/>
          <p:cNvGrpSpPr/>
          <p:nvPr/>
        </p:nvGrpSpPr>
        <p:grpSpPr>
          <a:xfrm>
            <a:off x="9891915" y="245656"/>
            <a:ext cx="899678" cy="316238"/>
            <a:chOff x="5380738" y="85799"/>
            <a:chExt cx="612000" cy="215119"/>
          </a:xfrm>
        </p:grpSpPr>
        <p:sp>
          <p:nvSpPr>
            <p:cNvPr id="103" name="Rounded Rectangle 127"/>
            <p:cNvSpPr/>
            <p:nvPr/>
          </p:nvSpPr>
          <p:spPr>
            <a:xfrm>
              <a:off x="5380738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52922" tIns="52922" rIns="52922" bIns="0" rtlCol="0" anchor="b"/>
            <a:lstStyle/>
            <a:p>
              <a:pPr algn="ctr" defTabSz="672130"/>
              <a:endParaRPr lang="en-US" sz="1176" b="1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4" name="Oval 124"/>
            <p:cNvSpPr>
              <a:spLocks noChangeAspect="1"/>
            </p:cNvSpPr>
            <p:nvPr/>
          </p:nvSpPr>
          <p:spPr>
            <a:xfrm>
              <a:off x="5429720" y="121358"/>
              <a:ext cx="143806" cy="144000"/>
            </a:xfrm>
            <a:prstGeom prst="ellipse">
              <a:avLst/>
            </a:prstGeom>
            <a:solidFill>
              <a:srgbClr val="1BCF1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5" name="Oval 125"/>
            <p:cNvSpPr>
              <a:spLocks noChangeAspect="1"/>
            </p:cNvSpPr>
            <p:nvPr/>
          </p:nvSpPr>
          <p:spPr>
            <a:xfrm>
              <a:off x="5612974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6" name="Oval 126"/>
            <p:cNvSpPr>
              <a:spLocks noChangeAspect="1"/>
            </p:cNvSpPr>
            <p:nvPr/>
          </p:nvSpPr>
          <p:spPr>
            <a:xfrm>
              <a:off x="5795067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82" name="TextBox 128"/>
          <p:cNvSpPr txBox="1"/>
          <p:nvPr/>
        </p:nvSpPr>
        <p:spPr>
          <a:xfrm>
            <a:off x="9891915" y="576471"/>
            <a:ext cx="899678" cy="1798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52922" tIns="52922" rIns="52922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672130"/>
            <a:r>
              <a:rPr lang="pt-BR" sz="1176" b="0" dirty="0">
                <a:solidFill>
                  <a:prstClr val="black"/>
                </a:solidFill>
                <a:latin typeface="Simplon BP Bold" pitchFamily="2" charset="0"/>
              </a:rPr>
              <a:t>Back</a:t>
            </a:r>
          </a:p>
        </p:txBody>
      </p:sp>
      <p:grpSp>
        <p:nvGrpSpPr>
          <p:cNvPr id="83" name="Group 6"/>
          <p:cNvGrpSpPr/>
          <p:nvPr/>
        </p:nvGrpSpPr>
        <p:grpSpPr>
          <a:xfrm>
            <a:off x="8934246" y="245656"/>
            <a:ext cx="899678" cy="316238"/>
            <a:chOff x="4729290" y="85799"/>
            <a:chExt cx="612000" cy="215119"/>
          </a:xfrm>
        </p:grpSpPr>
        <p:sp>
          <p:nvSpPr>
            <p:cNvPr id="91" name="Rounded Rectangle 132"/>
            <p:cNvSpPr/>
            <p:nvPr/>
          </p:nvSpPr>
          <p:spPr>
            <a:xfrm>
              <a:off x="4729290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52922" tIns="52922" rIns="52922" bIns="0" rtlCol="0" anchor="b"/>
            <a:lstStyle/>
            <a:p>
              <a:pPr algn="ctr" defTabSz="672130"/>
              <a:endParaRPr lang="en-US" sz="1176" b="1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0" name="Oval 129"/>
            <p:cNvSpPr>
              <a:spLocks noChangeAspect="1"/>
            </p:cNvSpPr>
            <p:nvPr/>
          </p:nvSpPr>
          <p:spPr>
            <a:xfrm>
              <a:off x="4778272" y="121358"/>
              <a:ext cx="143806" cy="144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2" name="Oval 131"/>
            <p:cNvSpPr>
              <a:spLocks noChangeAspect="1"/>
            </p:cNvSpPr>
            <p:nvPr/>
          </p:nvSpPr>
          <p:spPr>
            <a:xfrm>
              <a:off x="5143619" y="121358"/>
              <a:ext cx="143806" cy="144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84" name="TextBox 133"/>
          <p:cNvSpPr txBox="1"/>
          <p:nvPr/>
        </p:nvSpPr>
        <p:spPr>
          <a:xfrm>
            <a:off x="8934246" y="576471"/>
            <a:ext cx="899678" cy="1798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52922" tIns="52922" rIns="52922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672130"/>
            <a:r>
              <a:rPr lang="pt-BR" sz="1176" b="0" dirty="0">
                <a:solidFill>
                  <a:prstClr val="black"/>
                </a:solidFill>
                <a:latin typeface="Simplon BP Bold" pitchFamily="2" charset="0"/>
              </a:rPr>
              <a:t>Front</a:t>
            </a:r>
          </a:p>
        </p:txBody>
      </p:sp>
      <p:grpSp>
        <p:nvGrpSpPr>
          <p:cNvPr id="85" name="Group 5"/>
          <p:cNvGrpSpPr/>
          <p:nvPr/>
        </p:nvGrpSpPr>
        <p:grpSpPr>
          <a:xfrm>
            <a:off x="7970611" y="245656"/>
            <a:ext cx="899678" cy="316238"/>
            <a:chOff x="4073784" y="85799"/>
            <a:chExt cx="612000" cy="215119"/>
          </a:xfrm>
        </p:grpSpPr>
        <p:sp>
          <p:nvSpPr>
            <p:cNvPr id="87" name="Rounded Rectangle 137"/>
            <p:cNvSpPr/>
            <p:nvPr/>
          </p:nvSpPr>
          <p:spPr>
            <a:xfrm>
              <a:off x="4073784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52922" tIns="52922" rIns="52922" bIns="0" rtlCol="0" anchor="b"/>
            <a:lstStyle/>
            <a:p>
              <a:pPr algn="ctr" defTabSz="672130"/>
              <a:endParaRPr lang="en-US" sz="1176" b="1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88" name="Oval 134"/>
            <p:cNvSpPr>
              <a:spLocks noChangeAspect="1"/>
            </p:cNvSpPr>
            <p:nvPr/>
          </p:nvSpPr>
          <p:spPr>
            <a:xfrm>
              <a:off x="4122766" y="121358"/>
              <a:ext cx="143806" cy="144000"/>
            </a:xfrm>
            <a:prstGeom prst="ellipse">
              <a:avLst/>
            </a:prstGeom>
            <a:solidFill>
              <a:srgbClr val="1BCF1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89" name="Oval 135"/>
            <p:cNvSpPr>
              <a:spLocks noChangeAspect="1"/>
            </p:cNvSpPr>
            <p:nvPr/>
          </p:nvSpPr>
          <p:spPr>
            <a:xfrm>
              <a:off x="4306020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90" name="Oval 136"/>
            <p:cNvSpPr>
              <a:spLocks noChangeAspect="1"/>
            </p:cNvSpPr>
            <p:nvPr/>
          </p:nvSpPr>
          <p:spPr>
            <a:xfrm>
              <a:off x="4488113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86" name="TextBox 138"/>
          <p:cNvSpPr txBox="1"/>
          <p:nvPr/>
        </p:nvSpPr>
        <p:spPr>
          <a:xfrm>
            <a:off x="8015738" y="576471"/>
            <a:ext cx="899678" cy="1798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52922" tIns="52922" rIns="52922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672130"/>
            <a:r>
              <a:rPr lang="en-US" sz="1176" b="0" dirty="0" err="1">
                <a:solidFill>
                  <a:prstClr val="black"/>
                </a:solidFill>
                <a:latin typeface="Simplon BP Bold" pitchFamily="2" charset="0"/>
              </a:rPr>
              <a:t>Equipe</a:t>
            </a:r>
            <a:endParaRPr lang="en-US" sz="1176" b="0" dirty="0">
              <a:solidFill>
                <a:prstClr val="black"/>
              </a:solidFill>
              <a:latin typeface="Simplon BP Bold" pitchFamily="2" charset="0"/>
            </a:endParaRPr>
          </a:p>
        </p:txBody>
      </p:sp>
      <p:sp>
        <p:nvSpPr>
          <p:cNvPr id="64" name="Retângulo 63"/>
          <p:cNvSpPr/>
          <p:nvPr/>
        </p:nvSpPr>
        <p:spPr>
          <a:xfrm>
            <a:off x="512766" y="868345"/>
            <a:ext cx="6186608" cy="2381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134422" tIns="67211" rIns="134422" bIns="67211" rtlCol="0" anchor="ctr"/>
          <a:lstStyle/>
          <a:p>
            <a:pPr defTabSz="672130"/>
            <a:r>
              <a:rPr lang="en-US" sz="1544" dirty="0">
                <a:latin typeface="Simplon Oi Headline" charset="0"/>
                <a:ea typeface="Simplon Oi Headline" charset="0"/>
                <a:cs typeface="Simplon Oi Headline" charset="0"/>
              </a:rPr>
              <a:t>PROGRESSOS</a:t>
            </a:r>
            <a:endParaRPr lang="pt-BR" sz="1544" dirty="0"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65" name="Retângulo 64"/>
          <p:cNvSpPr/>
          <p:nvPr/>
        </p:nvSpPr>
        <p:spPr>
          <a:xfrm>
            <a:off x="6814576" y="868345"/>
            <a:ext cx="6194715" cy="2381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134422" tIns="67211" rIns="134422" bIns="67211" rtlCol="0" anchor="ctr"/>
          <a:lstStyle/>
          <a:p>
            <a:pPr defTabSz="672130"/>
            <a:r>
              <a:rPr lang="pt-BR" sz="1544" dirty="0">
                <a:latin typeface="Simplon Oi Headline" charset="0"/>
                <a:ea typeface="Simplon Oi Headline" charset="0"/>
                <a:cs typeface="Simplon Oi Headline" charset="0"/>
              </a:rPr>
              <a:t>Pontos atenção/ Principais Riscos</a:t>
            </a:r>
          </a:p>
        </p:txBody>
      </p:sp>
      <p:sp>
        <p:nvSpPr>
          <p:cNvPr id="66" name="Retângulo 65"/>
          <p:cNvSpPr/>
          <p:nvPr/>
        </p:nvSpPr>
        <p:spPr>
          <a:xfrm>
            <a:off x="507536" y="3418875"/>
            <a:ext cx="12505521" cy="2381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134422" tIns="67211" rIns="134422" bIns="67211" rtlCol="0" anchor="ctr"/>
          <a:lstStyle/>
          <a:p>
            <a:pPr defTabSz="672130"/>
            <a:r>
              <a:rPr lang="pt-BR" sz="1544" dirty="0">
                <a:latin typeface="Simplon Oi Headline" charset="0"/>
                <a:ea typeface="Simplon Oi Headline" charset="0"/>
                <a:cs typeface="Simplon Oi Headline" charset="0"/>
              </a:rPr>
              <a:t>Próximos Passos/ Decisões a tomar</a:t>
            </a:r>
          </a:p>
        </p:txBody>
      </p:sp>
      <p:sp>
        <p:nvSpPr>
          <p:cNvPr id="63" name="Rectangle 37"/>
          <p:cNvSpPr/>
          <p:nvPr/>
        </p:nvSpPr>
        <p:spPr>
          <a:xfrm>
            <a:off x="496765" y="1106495"/>
            <a:ext cx="6207777" cy="2235805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5844" rtlCol="0" anchor="t"/>
          <a:lstStyle/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pt-BR" sz="1323" b="1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O que foi superado na ultima semana </a:t>
            </a: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pt-BR" sz="1323" b="1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Ex. Instalação do banco de dados</a:t>
            </a:r>
          </a:p>
          <a:p>
            <a:pPr marL="252049" lvl="1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endParaRPr lang="pt-BR" sz="1323" b="1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endParaRPr lang="pt-BR" sz="1323" b="1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endParaRPr lang="pt-BR" sz="1323" b="1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6844996" y="1121895"/>
            <a:ext cx="6164295" cy="7030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r>
              <a:rPr lang="pt-BR" sz="1323" b="1" dirty="0">
                <a:latin typeface="Calibri" panose="020F0502020204030204" pitchFamily="34" charset="0"/>
                <a:cs typeface="Simplon BP Regular"/>
              </a:rPr>
              <a:t>Pontos de riscos ou assuntos que devem ser resolvidos com urgência para o bom andamento do projeto</a:t>
            </a: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r>
              <a:rPr lang="pt-BR" sz="1323" b="1" dirty="0">
                <a:latin typeface="Calibri" panose="020F0502020204030204" pitchFamily="34" charset="0"/>
                <a:cs typeface="Simplon BP Regular"/>
              </a:rPr>
              <a:t>Ex. Tela com Bug, Cloud não suporta tipo de serviço escolhido, </a:t>
            </a:r>
            <a:r>
              <a:rPr lang="pt-BR" sz="1323" b="1" dirty="0" err="1">
                <a:latin typeface="Calibri" panose="020F0502020204030204" pitchFamily="34" charset="0"/>
                <a:cs typeface="Simplon BP Regular"/>
              </a:rPr>
              <a:t>etc</a:t>
            </a:r>
            <a:endParaRPr lang="pt-BR" sz="1323" b="1" dirty="0">
              <a:latin typeface="Calibri" panose="020F0502020204030204" pitchFamily="34" charset="0"/>
              <a:cs typeface="Simplon BP Regular"/>
            </a:endParaRPr>
          </a:p>
        </p:txBody>
      </p:sp>
      <p:sp>
        <p:nvSpPr>
          <p:cNvPr id="2" name="Rectangle 43">
            <a:extLst>
              <a:ext uri="{FF2B5EF4-FFF2-40B4-BE49-F238E27FC236}">
                <a16:creationId xmlns:a16="http://schemas.microsoft.com/office/drawing/2014/main" id="{B15BA19F-C787-4E6A-ADAB-C0DFF09C66A8}"/>
              </a:ext>
            </a:extLst>
          </p:cNvPr>
          <p:cNvSpPr>
            <a:spLocks/>
          </p:cNvSpPr>
          <p:nvPr/>
        </p:nvSpPr>
        <p:spPr>
          <a:xfrm>
            <a:off x="512766" y="3728204"/>
            <a:ext cx="12496524" cy="3581485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tIns="105844" numCol="3" rtlCol="0" anchor="ctr"/>
          <a:lstStyle/>
          <a:p>
            <a:pPr marL="0" lvl="1" defTabSz="672130"/>
            <a:r>
              <a:rPr lang="pt-BR" sz="1323" b="1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Frente Plataforma</a:t>
            </a:r>
          </a:p>
          <a:p>
            <a:pPr marL="252049" lvl="1" indent="-252049" defTabSz="672130">
              <a:buFont typeface="Wingdings" charset="2"/>
              <a:buChar char="§"/>
            </a:pPr>
            <a:r>
              <a:rPr lang="pt-BR" sz="1323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Criação do banco de dados na Azure</a:t>
            </a:r>
          </a:p>
          <a:p>
            <a:pPr marL="0" lvl="1" defTabSz="672130"/>
            <a:endParaRPr lang="pt-BR" sz="1323" b="1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0" lvl="1" defTabSz="672130"/>
            <a:r>
              <a:rPr lang="pt-BR" sz="1323" b="1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Frente </a:t>
            </a:r>
            <a:r>
              <a:rPr lang="pt-BR" sz="1323" b="1" dirty="0" err="1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Backend</a:t>
            </a:r>
            <a:endParaRPr lang="pt-BR" sz="1323" b="1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252049" lvl="1" indent="-252049">
              <a:buFont typeface="Wingdings" panose="05000000000000000000" pitchFamily="2" charset="2"/>
              <a:buChar char="§"/>
            </a:pPr>
            <a:r>
              <a:rPr lang="pt-BR" sz="1323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Configuração da Biblioteca</a:t>
            </a:r>
          </a:p>
          <a:p>
            <a:pPr marL="0" lvl="1" defTabSz="672130"/>
            <a:endParaRPr lang="pt-BR" sz="1323" b="1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0" lvl="1" defTabSz="672130"/>
            <a:r>
              <a:rPr lang="pt-BR" sz="1323" b="1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Frente Front </a:t>
            </a:r>
            <a:r>
              <a:rPr lang="pt-BR" sz="1323" b="1" dirty="0" err="1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end</a:t>
            </a:r>
            <a:endParaRPr lang="pt-BR" sz="1323" b="1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252049" lvl="1" indent="-252049">
              <a:buFont typeface="Wingdings" panose="05000000000000000000" pitchFamily="2" charset="2"/>
              <a:buChar char="§"/>
            </a:pPr>
            <a:r>
              <a:rPr lang="pt-BR" sz="1323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Criação de conta no </a:t>
            </a:r>
            <a:r>
              <a:rPr lang="pt-BR" sz="1323" dirty="0" err="1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Figma</a:t>
            </a:r>
            <a:r>
              <a:rPr lang="pt-BR" sz="1323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 ...</a:t>
            </a:r>
            <a:endParaRPr lang="pt-BR" sz="1470" b="1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</p:txBody>
      </p:sp>
      <p:sp>
        <p:nvSpPr>
          <p:cNvPr id="6" name="Oval 134">
            <a:extLst>
              <a:ext uri="{FF2B5EF4-FFF2-40B4-BE49-F238E27FC236}">
                <a16:creationId xmlns:a16="http://schemas.microsoft.com/office/drawing/2014/main" id="{70825C6F-9257-4CF5-8C62-1CA1EB2F8815}"/>
              </a:ext>
            </a:extLst>
          </p:cNvPr>
          <p:cNvSpPr>
            <a:spLocks noChangeAspect="1"/>
          </p:cNvSpPr>
          <p:nvPr/>
        </p:nvSpPr>
        <p:spPr>
          <a:xfrm>
            <a:off x="9540058" y="282529"/>
            <a:ext cx="211404" cy="211689"/>
          </a:xfrm>
          <a:prstGeom prst="ellipse">
            <a:avLst/>
          </a:prstGeom>
          <a:solidFill>
            <a:srgbClr val="FF0000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2922" tIns="52922" rIns="52922" rtlCol="0" anchor="ctr"/>
          <a:lstStyle/>
          <a:p>
            <a:pPr algn="ctr" defTabSz="672130"/>
            <a:endParaRPr lang="en-US" sz="1176" dirty="0">
              <a:solidFill>
                <a:prstClr val="black"/>
              </a:solidFill>
              <a:latin typeface="Simplon BP Regular"/>
              <a:cs typeface="Simplon BP Regular"/>
            </a:endParaRPr>
          </a:p>
        </p:txBody>
      </p:sp>
      <p:sp>
        <p:nvSpPr>
          <p:cNvPr id="7" name="Oval 129">
            <a:extLst>
              <a:ext uri="{FF2B5EF4-FFF2-40B4-BE49-F238E27FC236}">
                <a16:creationId xmlns:a16="http://schemas.microsoft.com/office/drawing/2014/main" id="{DD175998-7BC4-48E7-B48B-3AD3DB555BC2}"/>
              </a:ext>
            </a:extLst>
          </p:cNvPr>
          <p:cNvSpPr>
            <a:spLocks noChangeAspect="1"/>
          </p:cNvSpPr>
          <p:nvPr/>
        </p:nvSpPr>
        <p:spPr>
          <a:xfrm>
            <a:off x="9301036" y="309722"/>
            <a:ext cx="211404" cy="21168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2922" tIns="52922" rIns="52922" rtlCol="0" anchor="ctr"/>
          <a:lstStyle/>
          <a:p>
            <a:pPr algn="ctr" defTabSz="672130"/>
            <a:endParaRPr lang="en-US" sz="1176" dirty="0">
              <a:solidFill>
                <a:prstClr val="black"/>
              </a:solidFill>
              <a:latin typeface="Simplon BP Regular"/>
              <a:cs typeface="Simplon BP Regular"/>
            </a:endParaRPr>
          </a:p>
        </p:txBody>
      </p:sp>
      <p:sp>
        <p:nvSpPr>
          <p:cNvPr id="8" name="TextBox 138">
            <a:extLst>
              <a:ext uri="{FF2B5EF4-FFF2-40B4-BE49-F238E27FC236}">
                <a16:creationId xmlns:a16="http://schemas.microsoft.com/office/drawing/2014/main" id="{5CE7D08C-795B-4BF1-97F6-F9773F4E9F4C}"/>
              </a:ext>
            </a:extLst>
          </p:cNvPr>
          <p:cNvSpPr txBox="1"/>
          <p:nvPr/>
        </p:nvSpPr>
        <p:spPr>
          <a:xfrm>
            <a:off x="9927214" y="83089"/>
            <a:ext cx="899678" cy="1798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52922" tIns="52922" rIns="52922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672130"/>
            <a:r>
              <a:rPr lang="en-US" sz="1176" b="0" dirty="0" err="1">
                <a:solidFill>
                  <a:prstClr val="black"/>
                </a:solidFill>
                <a:latin typeface="Simplon BP Bold" pitchFamily="2" charset="0"/>
              </a:rPr>
              <a:t>Farol</a:t>
            </a:r>
            <a:r>
              <a:rPr lang="en-US" sz="1176" b="0" dirty="0">
                <a:solidFill>
                  <a:prstClr val="black"/>
                </a:solidFill>
                <a:latin typeface="Simplon BP Bold" pitchFamily="2" charset="0"/>
              </a:rPr>
              <a:t> do </a:t>
            </a:r>
            <a:r>
              <a:rPr lang="en-US" sz="1176" b="0" dirty="0" err="1">
                <a:solidFill>
                  <a:prstClr val="black"/>
                </a:solidFill>
                <a:latin typeface="Simplon BP Bold" pitchFamily="2" charset="0"/>
              </a:rPr>
              <a:t>Projeto</a:t>
            </a:r>
            <a:endParaRPr lang="en-US" sz="1176" b="0" dirty="0">
              <a:solidFill>
                <a:prstClr val="black"/>
              </a:solidFill>
              <a:latin typeface="Simplon BP Bold" pitchFamily="2" charset="0"/>
            </a:endParaRPr>
          </a:p>
        </p:txBody>
      </p:sp>
      <p:sp>
        <p:nvSpPr>
          <p:cNvPr id="9" name="Oval 134">
            <a:extLst>
              <a:ext uri="{FF2B5EF4-FFF2-40B4-BE49-F238E27FC236}">
                <a16:creationId xmlns:a16="http://schemas.microsoft.com/office/drawing/2014/main" id="{B60B13C9-0C70-4C0F-82B2-D0CD4FDFC1F0}"/>
              </a:ext>
            </a:extLst>
          </p:cNvPr>
          <p:cNvSpPr>
            <a:spLocks noChangeAspect="1"/>
          </p:cNvSpPr>
          <p:nvPr/>
        </p:nvSpPr>
        <p:spPr>
          <a:xfrm>
            <a:off x="12455390" y="279951"/>
            <a:ext cx="211404" cy="211689"/>
          </a:xfrm>
          <a:prstGeom prst="ellipse">
            <a:avLst/>
          </a:prstGeom>
          <a:solidFill>
            <a:srgbClr val="FF0000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2922" tIns="52922" rIns="52922" rtlCol="0" anchor="ctr"/>
          <a:lstStyle/>
          <a:p>
            <a:pPr algn="ctr" defTabSz="672130"/>
            <a:endParaRPr lang="en-US" sz="1176" dirty="0">
              <a:solidFill>
                <a:prstClr val="black"/>
              </a:solidFill>
              <a:latin typeface="Simplon BP Regular"/>
              <a:cs typeface="Simplon BP Regular"/>
            </a:endParaRPr>
          </a:p>
        </p:txBody>
      </p:sp>
      <p:sp>
        <p:nvSpPr>
          <p:cNvPr id="10" name="Oval 114">
            <a:extLst>
              <a:ext uri="{FF2B5EF4-FFF2-40B4-BE49-F238E27FC236}">
                <a16:creationId xmlns:a16="http://schemas.microsoft.com/office/drawing/2014/main" id="{2C0D7151-D7C4-4C3E-8608-61515AFD4BD7}"/>
              </a:ext>
            </a:extLst>
          </p:cNvPr>
          <p:cNvSpPr>
            <a:spLocks noChangeAspect="1"/>
          </p:cNvSpPr>
          <p:nvPr/>
        </p:nvSpPr>
        <p:spPr>
          <a:xfrm>
            <a:off x="11878494" y="309722"/>
            <a:ext cx="211404" cy="211689"/>
          </a:xfrm>
          <a:prstGeom prst="ellipse">
            <a:avLst/>
          </a:prstGeom>
          <a:noFill/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2922" tIns="52922" rIns="52922" rtlCol="0" anchor="ctr"/>
          <a:lstStyle/>
          <a:p>
            <a:pPr algn="ctr" defTabSz="672130"/>
            <a:endParaRPr lang="en-US" sz="1176" dirty="0">
              <a:solidFill>
                <a:prstClr val="black"/>
              </a:solidFill>
              <a:latin typeface="Simplon BP Regular"/>
              <a:cs typeface="Simplon BP Regular"/>
            </a:endParaRP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5D44F633-510F-448F-82B4-2BD76D8771A8}"/>
              </a:ext>
            </a:extLst>
          </p:cNvPr>
          <p:cNvSpPr txBox="1"/>
          <p:nvPr/>
        </p:nvSpPr>
        <p:spPr>
          <a:xfrm>
            <a:off x="2112963" y="245656"/>
            <a:ext cx="431642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Exemplo – Status do projeto</a:t>
            </a:r>
          </a:p>
        </p:txBody>
      </p:sp>
    </p:spTree>
    <p:extLst>
      <p:ext uri="{BB962C8B-B14F-4D97-AF65-F5344CB8AC3E}">
        <p14:creationId xmlns:p14="http://schemas.microsoft.com/office/powerpoint/2010/main" val="20086434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8" name="Objeto 9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353" y="0"/>
          <a:ext cx="215420" cy="1750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98" name="Objeto 9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53" y="0"/>
                        <a:ext cx="215420" cy="1750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7" name="Retângulo 96" hidden="1"/>
          <p:cNvSpPr/>
          <p:nvPr>
            <p:custDataLst>
              <p:tags r:id="rId3"/>
            </p:custDataLst>
          </p:nvPr>
        </p:nvSpPr>
        <p:spPr bwMode="auto">
          <a:xfrm>
            <a:off x="-78138" y="1"/>
            <a:ext cx="372402" cy="288436"/>
          </a:xfrm>
          <a:prstGeom prst="rect">
            <a:avLst/>
          </a:prstGeom>
          <a:solidFill>
            <a:srgbClr val="F0EEE8"/>
          </a:solidFill>
          <a:ln w="9525" cap="flat" cmpd="sng" algn="ctr">
            <a:solidFill>
              <a:srgbClr val="CBC3A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470" dirty="0">
              <a:solidFill>
                <a:srgbClr val="71684F"/>
              </a:solidFill>
              <a:latin typeface="Simplon BP Regular"/>
              <a:ea typeface="Verdana"/>
              <a:cs typeface="Verdana"/>
              <a:sym typeface="Simplon BP Regular"/>
            </a:endParaRPr>
          </a:p>
        </p:txBody>
      </p:sp>
      <p:grpSp>
        <p:nvGrpSpPr>
          <p:cNvPr id="2" name="Grupo 1"/>
          <p:cNvGrpSpPr/>
          <p:nvPr/>
        </p:nvGrpSpPr>
        <p:grpSpPr>
          <a:xfrm>
            <a:off x="437072" y="1355008"/>
            <a:ext cx="13007631" cy="3903947"/>
            <a:chOff x="135893" y="573561"/>
            <a:chExt cx="8848357" cy="2655635"/>
          </a:xfrm>
        </p:grpSpPr>
        <p:cxnSp>
          <p:nvCxnSpPr>
            <p:cNvPr id="6" name="Conector reto 5"/>
            <p:cNvCxnSpPr/>
            <p:nvPr/>
          </p:nvCxnSpPr>
          <p:spPr>
            <a:xfrm flipH="1">
              <a:off x="6810157" y="1725449"/>
              <a:ext cx="2174093" cy="16948"/>
            </a:xfrm>
            <a:prstGeom prst="line">
              <a:avLst/>
            </a:prstGeom>
            <a:ln>
              <a:solidFill>
                <a:srgbClr val="FF6D00"/>
              </a:solidFill>
              <a:prstDash val="sysDash"/>
              <a:head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ector reto 6"/>
            <p:cNvCxnSpPr>
              <a:cxnSpLocks/>
            </p:cNvCxnSpPr>
            <p:nvPr/>
          </p:nvCxnSpPr>
          <p:spPr>
            <a:xfrm flipH="1">
              <a:off x="2157055" y="1743449"/>
              <a:ext cx="4642971" cy="0"/>
            </a:xfrm>
            <a:prstGeom prst="line">
              <a:avLst/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Elipse 7"/>
            <p:cNvSpPr/>
            <p:nvPr/>
          </p:nvSpPr>
          <p:spPr>
            <a:xfrm>
              <a:off x="3731300" y="1671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10" name="Elipse 9"/>
            <p:cNvSpPr/>
            <p:nvPr/>
          </p:nvSpPr>
          <p:spPr>
            <a:xfrm>
              <a:off x="5117489" y="1653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11" name="Retângulo 10">
              <a:hlinkClick r:id="" action="ppaction://noaction"/>
            </p:cNvPr>
            <p:cNvSpPr/>
            <p:nvPr/>
          </p:nvSpPr>
          <p:spPr>
            <a:xfrm>
              <a:off x="3816301" y="1182256"/>
              <a:ext cx="1149715" cy="3705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Conexão com a biblioteca  X</a:t>
              </a:r>
            </a:p>
          </p:txBody>
        </p:sp>
        <p:sp>
          <p:nvSpPr>
            <p:cNvPr id="13" name="Retângulo 12">
              <a:hlinkClick r:id="" action="ppaction://noaction"/>
            </p:cNvPr>
            <p:cNvSpPr/>
            <p:nvPr/>
          </p:nvSpPr>
          <p:spPr>
            <a:xfrm>
              <a:off x="4490236" y="2125095"/>
              <a:ext cx="510422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XYZ</a:t>
              </a:r>
            </a:p>
          </p:txBody>
        </p:sp>
        <p:sp>
          <p:nvSpPr>
            <p:cNvPr id="14" name="Retângulo 13">
              <a:hlinkClick r:id="" action="ppaction://noaction"/>
            </p:cNvPr>
            <p:cNvSpPr/>
            <p:nvPr/>
          </p:nvSpPr>
          <p:spPr>
            <a:xfrm>
              <a:off x="7878371" y="1166249"/>
              <a:ext cx="1026103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Testes</a:t>
              </a:r>
            </a:p>
          </p:txBody>
        </p:sp>
        <p:cxnSp>
          <p:nvCxnSpPr>
            <p:cNvPr id="15" name="Conector angulado 14"/>
            <p:cNvCxnSpPr>
              <a:cxnSpLocks/>
              <a:stCxn id="26" idx="4"/>
              <a:endCxn id="29" idx="0"/>
            </p:cNvCxnSpPr>
            <p:nvPr/>
          </p:nvCxnSpPr>
          <p:spPr>
            <a:xfrm rot="5400000">
              <a:off x="4020315" y="1434801"/>
              <a:ext cx="327646" cy="1052942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ector angulado 15"/>
            <p:cNvCxnSpPr>
              <a:stCxn id="11" idx="2"/>
              <a:endCxn id="8" idx="0"/>
            </p:cNvCxnSpPr>
            <p:nvPr/>
          </p:nvCxnSpPr>
          <p:spPr>
            <a:xfrm rot="5400000">
              <a:off x="4037920" y="1318209"/>
              <a:ext cx="118620" cy="587858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ector angulado 17"/>
            <p:cNvCxnSpPr>
              <a:stCxn id="13" idx="0"/>
              <a:endCxn id="10" idx="4"/>
            </p:cNvCxnSpPr>
            <p:nvPr/>
          </p:nvCxnSpPr>
          <p:spPr>
            <a:xfrm rot="5400000" flipH="1" flipV="1">
              <a:off x="4803645" y="1739251"/>
              <a:ext cx="327646" cy="444043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ector angulado 18"/>
            <p:cNvCxnSpPr>
              <a:stCxn id="14" idx="2"/>
              <a:endCxn id="25" idx="0"/>
            </p:cNvCxnSpPr>
            <p:nvPr/>
          </p:nvCxnSpPr>
          <p:spPr>
            <a:xfrm rot="5400000">
              <a:off x="7964050" y="1226075"/>
              <a:ext cx="270509" cy="584238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FF6D00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tângulo 20">
              <a:hlinkClick r:id="" action="ppaction://noaction"/>
            </p:cNvPr>
            <p:cNvSpPr/>
            <p:nvPr/>
          </p:nvSpPr>
          <p:spPr>
            <a:xfrm>
              <a:off x="5141448" y="1173707"/>
              <a:ext cx="1069648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Tela de Cadastro</a:t>
              </a:r>
            </a:p>
          </p:txBody>
        </p:sp>
        <p:sp>
          <p:nvSpPr>
            <p:cNvPr id="22" name="Elipse 21"/>
            <p:cNvSpPr/>
            <p:nvPr/>
          </p:nvSpPr>
          <p:spPr>
            <a:xfrm>
              <a:off x="7477532" y="1653449"/>
              <a:ext cx="144000" cy="144000"/>
            </a:xfrm>
            <a:prstGeom prst="ellipse">
              <a:avLst/>
            </a:prstGeom>
            <a:solidFill>
              <a:srgbClr val="FF6D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23" name="Retângulo 22">
              <a:hlinkClick r:id="" action="ppaction://noaction"/>
            </p:cNvPr>
            <p:cNvSpPr/>
            <p:nvPr/>
          </p:nvSpPr>
          <p:spPr>
            <a:xfrm>
              <a:off x="6770457" y="2125095"/>
              <a:ext cx="1109087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 err="1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Deploy</a:t>
              </a:r>
              <a:endParaRPr lang="pt-BR" sz="1470" dirty="0">
                <a:solidFill>
                  <a:srgbClr val="4D4D4D"/>
                </a:solidFill>
                <a:latin typeface="Simplon Oi Headline" pitchFamily="2" charset="0"/>
                <a:cs typeface="Simplon Oi Headline"/>
              </a:endParaRPr>
            </a:p>
          </p:txBody>
        </p:sp>
        <p:cxnSp>
          <p:nvCxnSpPr>
            <p:cNvPr id="24" name="Conector angulado 23"/>
            <p:cNvCxnSpPr>
              <a:stCxn id="22" idx="4"/>
              <a:endCxn id="23" idx="0"/>
            </p:cNvCxnSpPr>
            <p:nvPr/>
          </p:nvCxnSpPr>
          <p:spPr>
            <a:xfrm rot="5400000">
              <a:off x="7273444" y="1849006"/>
              <a:ext cx="327646" cy="224532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FF6D00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Elipse 24"/>
            <p:cNvSpPr/>
            <p:nvPr/>
          </p:nvSpPr>
          <p:spPr>
            <a:xfrm>
              <a:off x="7741731" y="1653449"/>
              <a:ext cx="130909" cy="144000"/>
            </a:xfrm>
            <a:prstGeom prst="ellipse">
              <a:avLst/>
            </a:prstGeom>
            <a:solidFill>
              <a:srgbClr val="FF6D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26" name="Elipse 25"/>
            <p:cNvSpPr/>
            <p:nvPr/>
          </p:nvSpPr>
          <p:spPr>
            <a:xfrm>
              <a:off x="4638609" y="1653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27" name="CaixaDeTexto 26"/>
            <p:cNvSpPr txBox="1"/>
            <p:nvPr/>
          </p:nvSpPr>
          <p:spPr>
            <a:xfrm>
              <a:off x="1935125" y="573561"/>
              <a:ext cx="4875031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p:spPr>
          <p:txBody>
            <a:bodyPr wrap="none" rtlCol="0" anchor="ctr">
              <a:noAutofit/>
            </a:bodyPr>
            <a:lstStyle>
              <a:defPPr>
                <a:defRPr lang="pt-BR"/>
              </a:defPPr>
              <a:lvl1pPr algn="ctr">
                <a:defRPr>
                  <a:solidFill>
                    <a:schemeClr val="bg1">
                      <a:lumMod val="65000"/>
                    </a:schemeClr>
                  </a:solidFill>
                </a:defRPr>
              </a:lvl1pPr>
            </a:lstStyle>
            <a:p>
              <a:r>
                <a:rPr lang="pt-BR" sz="1764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Sprint 2</a:t>
              </a:r>
            </a:p>
          </p:txBody>
        </p:sp>
        <p:sp>
          <p:nvSpPr>
            <p:cNvPr id="28" name="CaixaDeTexto 27"/>
            <p:cNvSpPr txBox="1"/>
            <p:nvPr/>
          </p:nvSpPr>
          <p:spPr>
            <a:xfrm>
              <a:off x="6810157" y="573561"/>
              <a:ext cx="2160000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p:spPr>
          <p:txBody>
            <a:bodyPr wrap="none" rtlCol="0" anchor="ctr">
              <a:noAutofit/>
            </a:bodyPr>
            <a:lstStyle>
              <a:defPPr>
                <a:defRPr lang="pt-BR"/>
              </a:defPPr>
              <a:lvl1pPr algn="ctr">
                <a:defRPr>
                  <a:solidFill>
                    <a:schemeClr val="bg1">
                      <a:lumMod val="65000"/>
                    </a:schemeClr>
                  </a:solidFill>
                </a:defRPr>
              </a:lvl1pPr>
            </a:lstStyle>
            <a:p>
              <a:r>
                <a:rPr lang="pt-BR" sz="1764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Sprint 3</a:t>
              </a:r>
            </a:p>
          </p:txBody>
        </p:sp>
        <p:sp>
          <p:nvSpPr>
            <p:cNvPr id="29" name="Retângulo 28">
              <a:hlinkClick r:id="" action="ppaction://noaction"/>
            </p:cNvPr>
            <p:cNvSpPr/>
            <p:nvPr/>
          </p:nvSpPr>
          <p:spPr>
            <a:xfrm>
              <a:off x="3367814" y="2125095"/>
              <a:ext cx="579706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ÇLKJH</a:t>
              </a:r>
            </a:p>
          </p:txBody>
        </p:sp>
        <p:sp>
          <p:nvSpPr>
            <p:cNvPr id="33" name="Elipse 32"/>
            <p:cNvSpPr/>
            <p:nvPr/>
          </p:nvSpPr>
          <p:spPr>
            <a:xfrm>
              <a:off x="5881086" y="1673873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cxnSp>
          <p:nvCxnSpPr>
            <p:cNvPr id="34" name="Conector angulado 33"/>
            <p:cNvCxnSpPr>
              <a:cxnSpLocks/>
              <a:stCxn id="33" idx="0"/>
              <a:endCxn id="21" idx="2"/>
            </p:cNvCxnSpPr>
            <p:nvPr/>
          </p:nvCxnSpPr>
          <p:spPr>
            <a:xfrm rot="16200000" flipV="1">
              <a:off x="5672943" y="1393729"/>
              <a:ext cx="283475" cy="276814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Conector angulado 34"/>
            <p:cNvCxnSpPr>
              <a:stCxn id="37" idx="4"/>
              <a:endCxn id="38" idx="0"/>
            </p:cNvCxnSpPr>
            <p:nvPr/>
          </p:nvCxnSpPr>
          <p:spPr>
            <a:xfrm rot="5400000">
              <a:off x="6234794" y="1791752"/>
              <a:ext cx="317476" cy="364869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Elipse 36"/>
            <p:cNvSpPr/>
            <p:nvPr/>
          </p:nvSpPr>
          <p:spPr>
            <a:xfrm>
              <a:off x="6503966" y="1671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38" name="Retângulo 37">
              <a:hlinkClick r:id="" action="ppaction://noaction"/>
            </p:cNvPr>
            <p:cNvSpPr/>
            <p:nvPr/>
          </p:nvSpPr>
          <p:spPr>
            <a:xfrm>
              <a:off x="5605472" y="2132925"/>
              <a:ext cx="1211250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2 telas no </a:t>
              </a:r>
              <a:r>
                <a:rPr lang="pt-BR" sz="1470" dirty="0" err="1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React</a:t>
              </a:r>
              <a:endParaRPr lang="pt-BR" sz="1470" dirty="0">
                <a:solidFill>
                  <a:srgbClr val="4D4D4D"/>
                </a:solidFill>
                <a:latin typeface="Simplon Oi Headline" pitchFamily="2" charset="0"/>
                <a:cs typeface="Simplon Oi Headline"/>
              </a:endParaRPr>
            </a:p>
          </p:txBody>
        </p:sp>
        <p:cxnSp>
          <p:nvCxnSpPr>
            <p:cNvPr id="39" name="Conector reto 38"/>
            <p:cNvCxnSpPr/>
            <p:nvPr/>
          </p:nvCxnSpPr>
          <p:spPr>
            <a:xfrm flipH="1">
              <a:off x="135893" y="1745497"/>
              <a:ext cx="2160000" cy="0"/>
            </a:xfrm>
            <a:prstGeom prst="line">
              <a:avLst/>
            </a:prstGeom>
            <a:ln>
              <a:solidFill>
                <a:srgbClr val="00B050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CaixaDeTexto 39"/>
            <p:cNvSpPr txBox="1"/>
            <p:nvPr/>
          </p:nvSpPr>
          <p:spPr>
            <a:xfrm>
              <a:off x="138459" y="573561"/>
              <a:ext cx="2160000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p:spPr>
          <p:txBody>
            <a:bodyPr wrap="none" rtlCol="0" anchor="ctr">
              <a:noAutofit/>
            </a:bodyPr>
            <a:lstStyle>
              <a:defPPr>
                <a:defRPr lang="pt-BR"/>
              </a:defPPr>
              <a:lvl1pPr>
                <a:defRPr>
                  <a:solidFill>
                    <a:schemeClr val="bg1">
                      <a:lumMod val="65000"/>
                    </a:schemeClr>
                  </a:solidFill>
                </a:defRPr>
              </a:lvl1pPr>
            </a:lstStyle>
            <a:p>
              <a:pPr algn="ctr"/>
              <a:r>
                <a:rPr lang="pt-BR" sz="1764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Sprint 1</a:t>
              </a:r>
            </a:p>
          </p:txBody>
        </p:sp>
        <p:sp>
          <p:nvSpPr>
            <p:cNvPr id="43" name="Retângulo 42">
              <a:hlinkClick r:id="" action="ppaction://noaction"/>
            </p:cNvPr>
            <p:cNvSpPr/>
            <p:nvPr/>
          </p:nvSpPr>
          <p:spPr>
            <a:xfrm>
              <a:off x="2682611" y="1182256"/>
              <a:ext cx="1323234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Criação do banco</a:t>
              </a:r>
            </a:p>
          </p:txBody>
        </p:sp>
        <p:sp>
          <p:nvSpPr>
            <p:cNvPr id="49" name="Retângulo 48">
              <a:hlinkClick r:id="" action="ppaction://noaction"/>
            </p:cNvPr>
            <p:cNvSpPr/>
            <p:nvPr/>
          </p:nvSpPr>
          <p:spPr>
            <a:xfrm>
              <a:off x="348753" y="2550860"/>
              <a:ext cx="2159999" cy="67833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52049" indent="-252049" algn="ctr">
                <a:buFont typeface="Wingdings" panose="05000000000000000000" pitchFamily="2" charset="2"/>
                <a:buChar char="ü"/>
              </a:pPr>
              <a:r>
                <a:rPr lang="pt-BR" sz="2940" b="1" dirty="0">
                  <a:solidFill>
                    <a:schemeClr val="accent5">
                      <a:lumMod val="75000"/>
                    </a:schemeClr>
                  </a:solidFill>
                  <a:latin typeface="Simplon Oi Headline" pitchFamily="2" charset="0"/>
                  <a:cs typeface="Simplon Oi Headline"/>
                </a:rPr>
                <a:t>Documentação e Fundação</a:t>
              </a:r>
            </a:p>
          </p:txBody>
        </p:sp>
      </p:grpSp>
      <p:sp>
        <p:nvSpPr>
          <p:cNvPr id="46" name="Espaço Reservado para Texto 2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1957416" y="257088"/>
            <a:ext cx="9048088" cy="40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defTabSz="457200" eaLnBrk="1" hangingPunct="1">
              <a:lnSpc>
                <a:spcPts val="2000"/>
              </a:lnSpc>
              <a:spcBef>
                <a:spcPts val="900"/>
              </a:spcBef>
              <a:buClr>
                <a:schemeClr val="tx1"/>
              </a:buClr>
              <a:buFont typeface="Arial"/>
              <a:buNone/>
              <a:defRPr lang="pt-BR" sz="1500" b="0" dirty="0" smtClean="0">
                <a:solidFill>
                  <a:srgbClr val="4D4D4D"/>
                </a:solidFill>
                <a:latin typeface="Simplon Oi Headline" pitchFamily="2" charset="0"/>
                <a:ea typeface="+mj-ea"/>
                <a:cs typeface="Arial" panose="020B0604020202020204" pitchFamily="34" charset="0"/>
              </a:defRPr>
            </a:lvl1pPr>
            <a:lvl2pPr marL="1588" indent="0" defTabSz="955675" eaLnBrk="0" hangingPunct="0">
              <a:spcBef>
                <a:spcPct val="20000"/>
              </a:spcBef>
              <a:buClr>
                <a:schemeClr val="tx1"/>
              </a:buClr>
              <a:buNone/>
              <a:defRPr sz="1600">
                <a:solidFill>
                  <a:schemeClr val="tx1"/>
                </a:solidFill>
                <a:latin typeface="+mn-lt"/>
              </a:defRPr>
            </a:lvl2pPr>
            <a:lvl3pPr marL="323850" indent="-171450" defTabSz="955675" eaLnBrk="0" hangingPunct="0">
              <a:spcBef>
                <a:spcPct val="20000"/>
              </a:spcBef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95300" indent="-150813" defTabSz="955675" eaLnBrk="0" hangingPunct="0">
              <a:spcBef>
                <a:spcPct val="20000"/>
              </a:spcBef>
              <a:buClr>
                <a:schemeClr val="tx1"/>
              </a:buClr>
              <a:buSzPct val="80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696913" indent="-200025" defTabSz="955675" eaLnBrk="0" hangingPunct="0">
              <a:spcBef>
                <a:spcPct val="20000"/>
              </a:spcBef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1541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6113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20685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5257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fontAlgn="base">
              <a:lnSpc>
                <a:spcPct val="100000"/>
              </a:lnSpc>
              <a:spcBef>
                <a:spcPct val="0"/>
              </a:spcBef>
              <a:spcAft>
                <a:spcPts val="882"/>
              </a:spcAft>
              <a:buClr>
                <a:prstClr val="black"/>
              </a:buClr>
            </a:pPr>
            <a:r>
              <a:rPr sz="2646" dirty="0">
                <a:solidFill>
                  <a:prstClr val="black"/>
                </a:solidFill>
                <a:latin typeface="Simplon Oi Headline"/>
                <a:cs typeface="Simplon Oi Headline"/>
              </a:rPr>
              <a:t>Exemplo 1 de </a:t>
            </a:r>
            <a:r>
              <a:rPr sz="2646" dirty="0" err="1">
                <a:solidFill>
                  <a:prstClr val="black"/>
                </a:solidFill>
                <a:latin typeface="Simplon Oi Headline"/>
                <a:cs typeface="Simplon Oi Headline"/>
              </a:rPr>
              <a:t>Timeline</a:t>
            </a:r>
            <a:r>
              <a:rPr sz="2646" dirty="0">
                <a:solidFill>
                  <a:prstClr val="black"/>
                </a:solidFill>
                <a:latin typeface="Simplon Oi Headline"/>
                <a:cs typeface="Simplon Oi Headline"/>
              </a:rPr>
              <a:t> para o projeto dividido por Frente/Sprint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3856079" y="1721208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1</a:t>
            </a:r>
          </a:p>
        </p:txBody>
      </p:sp>
      <p:sp>
        <p:nvSpPr>
          <p:cNvPr id="44" name="CaixaDeTexto 43"/>
          <p:cNvSpPr txBox="1"/>
          <p:nvPr/>
        </p:nvSpPr>
        <p:spPr>
          <a:xfrm>
            <a:off x="5607087" y="1711604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2</a:t>
            </a:r>
          </a:p>
        </p:txBody>
      </p:sp>
      <p:sp>
        <p:nvSpPr>
          <p:cNvPr id="45" name="CaixaDeTexto 44"/>
          <p:cNvSpPr txBox="1"/>
          <p:nvPr/>
        </p:nvSpPr>
        <p:spPr>
          <a:xfrm>
            <a:off x="7197854" y="1730810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3</a:t>
            </a:r>
          </a:p>
        </p:txBody>
      </p:sp>
      <p:cxnSp>
        <p:nvCxnSpPr>
          <p:cNvPr id="5" name="Conector reto 4"/>
          <p:cNvCxnSpPr/>
          <p:nvPr/>
        </p:nvCxnSpPr>
        <p:spPr>
          <a:xfrm>
            <a:off x="5053552" y="1725974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Conector reto 46"/>
          <p:cNvCxnSpPr/>
          <p:nvPr/>
        </p:nvCxnSpPr>
        <p:spPr>
          <a:xfrm>
            <a:off x="6763386" y="1724554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Conector reto 47"/>
          <p:cNvCxnSpPr/>
          <p:nvPr/>
        </p:nvCxnSpPr>
        <p:spPr>
          <a:xfrm>
            <a:off x="3413004" y="1734160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Conector reto 49"/>
          <p:cNvCxnSpPr/>
          <p:nvPr/>
        </p:nvCxnSpPr>
        <p:spPr>
          <a:xfrm>
            <a:off x="9997593" y="1734160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Retângulo 3">
            <a:hlinkClick r:id="" action="ppaction://noaction"/>
            <a:extLst>
              <a:ext uri="{FF2B5EF4-FFF2-40B4-BE49-F238E27FC236}">
                <a16:creationId xmlns:a16="http://schemas.microsoft.com/office/drawing/2014/main" id="{1F0CBBDC-2315-430E-AEEA-C6591C07E4A2}"/>
              </a:ext>
            </a:extLst>
          </p:cNvPr>
          <p:cNvSpPr/>
          <p:nvPr/>
        </p:nvSpPr>
        <p:spPr>
          <a:xfrm>
            <a:off x="5229498" y="4261759"/>
            <a:ext cx="3311955" cy="9971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2049" indent="-252049" algn="ctr">
              <a:buFont typeface="Wingdings" panose="05000000000000000000" pitchFamily="2" charset="2"/>
              <a:buChar char="ü"/>
            </a:pPr>
            <a:r>
              <a:rPr lang="pt-BR" sz="2940" b="1" dirty="0">
                <a:solidFill>
                  <a:srgbClr val="4D4D4D"/>
                </a:solidFill>
                <a:latin typeface="Simplon Oi Headline" pitchFamily="2" charset="0"/>
                <a:cs typeface="Simplon Oi Headline"/>
              </a:rPr>
              <a:t> Fundação e Construção</a:t>
            </a:r>
          </a:p>
        </p:txBody>
      </p:sp>
      <p:sp>
        <p:nvSpPr>
          <p:cNvPr id="9" name="Retângulo 8">
            <a:hlinkClick r:id="" action="ppaction://noaction"/>
            <a:extLst>
              <a:ext uri="{FF2B5EF4-FFF2-40B4-BE49-F238E27FC236}">
                <a16:creationId xmlns:a16="http://schemas.microsoft.com/office/drawing/2014/main" id="{52DD515D-7F63-4291-A3C3-68035A28B582}"/>
              </a:ext>
            </a:extLst>
          </p:cNvPr>
          <p:cNvSpPr/>
          <p:nvPr/>
        </p:nvSpPr>
        <p:spPr>
          <a:xfrm>
            <a:off x="10130642" y="4109233"/>
            <a:ext cx="3311955" cy="9971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2049" indent="-252049" algn="ctr">
              <a:buFont typeface="Wingdings" panose="05000000000000000000" pitchFamily="2" charset="2"/>
              <a:buChar char="ü"/>
            </a:pPr>
            <a:r>
              <a:rPr lang="pt-BR" sz="2940" b="1" dirty="0">
                <a:solidFill>
                  <a:srgbClr val="F48D27"/>
                </a:solidFill>
                <a:latin typeface="Simplon Oi Headline" pitchFamily="2" charset="0"/>
                <a:cs typeface="Simplon Oi Headline"/>
              </a:rPr>
              <a:t> Construção e Implantação </a:t>
            </a:r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C5380733-6F5D-4194-9AD2-D0B5F3C93AE1}"/>
              </a:ext>
            </a:extLst>
          </p:cNvPr>
          <p:cNvSpPr/>
          <p:nvPr/>
        </p:nvSpPr>
        <p:spPr>
          <a:xfrm>
            <a:off x="858729" y="2915861"/>
            <a:ext cx="211689" cy="211689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52">
              <a:solidFill>
                <a:schemeClr val="tx1"/>
              </a:solidFill>
            </a:endParaRP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48C035DA-C79B-40E7-8C87-ED0980B37601}"/>
              </a:ext>
            </a:extLst>
          </p:cNvPr>
          <p:cNvSpPr txBox="1"/>
          <p:nvPr/>
        </p:nvSpPr>
        <p:spPr>
          <a:xfrm rot="16200000">
            <a:off x="-1703767" y="3060365"/>
            <a:ext cx="3947552" cy="423378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</a:ln>
        </p:spPr>
        <p:txBody>
          <a:bodyPr wrap="none" rtlCol="0" anchor="ctr">
            <a:noAutofit/>
          </a:bodyPr>
          <a:lstStyle>
            <a:defPPr>
              <a:defRPr lang="pt-BR"/>
            </a:defPPr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ctr"/>
            <a:r>
              <a:rPr lang="pt-BR" sz="1764" b="1" dirty="0">
                <a:solidFill>
                  <a:prstClr val="black"/>
                </a:solidFill>
                <a:latin typeface="Calibri" panose="020F0502020204030204" pitchFamily="34" charset="0"/>
              </a:rPr>
              <a:t>Front </a:t>
            </a:r>
            <a:r>
              <a:rPr lang="pt-BR" sz="1764" b="1" dirty="0" err="1">
                <a:solidFill>
                  <a:prstClr val="black"/>
                </a:solidFill>
                <a:latin typeface="Calibri" panose="020F0502020204030204" pitchFamily="34" charset="0"/>
              </a:rPr>
              <a:t>End</a:t>
            </a:r>
            <a:endParaRPr lang="pt-BR" sz="1764" b="1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cxnSp>
        <p:nvCxnSpPr>
          <p:cNvPr id="36" name="Conector reto 35">
            <a:extLst>
              <a:ext uri="{FF2B5EF4-FFF2-40B4-BE49-F238E27FC236}">
                <a16:creationId xmlns:a16="http://schemas.microsoft.com/office/drawing/2014/main" id="{30B5B7B8-CF33-4805-88BA-E17C33356786}"/>
              </a:ext>
            </a:extLst>
          </p:cNvPr>
          <p:cNvCxnSpPr>
            <a:cxnSpLocks/>
          </p:cNvCxnSpPr>
          <p:nvPr/>
        </p:nvCxnSpPr>
        <p:spPr>
          <a:xfrm>
            <a:off x="8239947" y="1722606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CaixaDeTexto 54">
            <a:extLst>
              <a:ext uri="{FF2B5EF4-FFF2-40B4-BE49-F238E27FC236}">
                <a16:creationId xmlns:a16="http://schemas.microsoft.com/office/drawing/2014/main" id="{5C9EC840-FF5E-45B9-A112-87013926B770}"/>
              </a:ext>
            </a:extLst>
          </p:cNvPr>
          <p:cNvSpPr txBox="1"/>
          <p:nvPr/>
        </p:nvSpPr>
        <p:spPr>
          <a:xfrm>
            <a:off x="8646094" y="1708575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4</a:t>
            </a:r>
          </a:p>
        </p:txBody>
      </p:sp>
      <p:sp>
        <p:nvSpPr>
          <p:cNvPr id="63" name="Elipse 62">
            <a:extLst>
              <a:ext uri="{FF2B5EF4-FFF2-40B4-BE49-F238E27FC236}">
                <a16:creationId xmlns:a16="http://schemas.microsoft.com/office/drawing/2014/main" id="{E12AB2F3-8086-4DC1-AA1C-06995EAC28B9}"/>
              </a:ext>
            </a:extLst>
          </p:cNvPr>
          <p:cNvSpPr/>
          <p:nvPr/>
        </p:nvSpPr>
        <p:spPr>
          <a:xfrm>
            <a:off x="3909010" y="2915970"/>
            <a:ext cx="211689" cy="211689"/>
          </a:xfrm>
          <a:prstGeom prst="ellipse">
            <a:avLst/>
          </a:prstGeom>
          <a:solidFill>
            <a:srgbClr val="4D4D4D"/>
          </a:solidFill>
          <a:ln>
            <a:solidFill>
              <a:srgbClr val="4D4D4D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52">
              <a:solidFill>
                <a:prstClr val="white"/>
              </a:solidFill>
            </a:endParaRPr>
          </a:p>
        </p:txBody>
      </p:sp>
      <p:cxnSp>
        <p:nvCxnSpPr>
          <p:cNvPr id="64" name="Conector angulado 15">
            <a:extLst>
              <a:ext uri="{FF2B5EF4-FFF2-40B4-BE49-F238E27FC236}">
                <a16:creationId xmlns:a16="http://schemas.microsoft.com/office/drawing/2014/main" id="{F17307C4-DF1B-413B-A553-2F35F9B23221}"/>
              </a:ext>
            </a:extLst>
          </p:cNvPr>
          <p:cNvCxnSpPr>
            <a:cxnSpLocks/>
            <a:stCxn id="43" idx="2"/>
            <a:endCxn id="63" idx="0"/>
          </p:cNvCxnSpPr>
          <p:nvPr/>
        </p:nvCxnSpPr>
        <p:spPr>
          <a:xfrm rot="5400000">
            <a:off x="4410392" y="2172839"/>
            <a:ext cx="347594" cy="1138668"/>
          </a:xfrm>
          <a:prstGeom prst="bentConnector3">
            <a:avLst>
              <a:gd name="adj1" fmla="val 50000"/>
            </a:avLst>
          </a:prstGeom>
          <a:ln>
            <a:solidFill>
              <a:srgbClr val="4D4D4D"/>
            </a:solidFill>
            <a:prstDash val="sysDash"/>
            <a:head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362185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8" name="Objeto 9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353" y="0"/>
          <a:ext cx="215420" cy="1750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98" name="Objeto 9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53" y="0"/>
                        <a:ext cx="215420" cy="1750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7" name="Retângulo 96" hidden="1"/>
          <p:cNvSpPr/>
          <p:nvPr>
            <p:custDataLst>
              <p:tags r:id="rId3"/>
            </p:custDataLst>
          </p:nvPr>
        </p:nvSpPr>
        <p:spPr bwMode="auto">
          <a:xfrm>
            <a:off x="-78138" y="1"/>
            <a:ext cx="372402" cy="288436"/>
          </a:xfrm>
          <a:prstGeom prst="rect">
            <a:avLst/>
          </a:prstGeom>
          <a:solidFill>
            <a:srgbClr val="F0EEE8"/>
          </a:solidFill>
          <a:ln w="9525" cap="flat" cmpd="sng" algn="ctr">
            <a:solidFill>
              <a:srgbClr val="CBC3A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470" dirty="0">
              <a:solidFill>
                <a:srgbClr val="71684F"/>
              </a:solidFill>
              <a:latin typeface="Simplon BP Regular"/>
              <a:ea typeface="Verdana"/>
              <a:cs typeface="Verdana"/>
              <a:sym typeface="Simplon BP Regular"/>
            </a:endParaRPr>
          </a:p>
        </p:txBody>
      </p:sp>
      <p:grpSp>
        <p:nvGrpSpPr>
          <p:cNvPr id="2" name="Grupo 1"/>
          <p:cNvGrpSpPr/>
          <p:nvPr/>
        </p:nvGrpSpPr>
        <p:grpSpPr>
          <a:xfrm>
            <a:off x="437072" y="1355008"/>
            <a:ext cx="13007631" cy="3903947"/>
            <a:chOff x="135893" y="573561"/>
            <a:chExt cx="8848357" cy="2655635"/>
          </a:xfrm>
        </p:grpSpPr>
        <p:cxnSp>
          <p:nvCxnSpPr>
            <p:cNvPr id="6" name="Conector reto 5"/>
            <p:cNvCxnSpPr/>
            <p:nvPr/>
          </p:nvCxnSpPr>
          <p:spPr>
            <a:xfrm flipH="1">
              <a:off x="6810157" y="1725449"/>
              <a:ext cx="2174093" cy="16948"/>
            </a:xfrm>
            <a:prstGeom prst="line">
              <a:avLst/>
            </a:prstGeom>
            <a:ln>
              <a:solidFill>
                <a:srgbClr val="FF6D00"/>
              </a:solidFill>
              <a:prstDash val="sysDash"/>
              <a:head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ector reto 6"/>
            <p:cNvCxnSpPr>
              <a:cxnSpLocks/>
            </p:cNvCxnSpPr>
            <p:nvPr/>
          </p:nvCxnSpPr>
          <p:spPr>
            <a:xfrm flipH="1">
              <a:off x="2157055" y="1743449"/>
              <a:ext cx="4642971" cy="0"/>
            </a:xfrm>
            <a:prstGeom prst="line">
              <a:avLst/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Elipse 7"/>
            <p:cNvSpPr/>
            <p:nvPr/>
          </p:nvSpPr>
          <p:spPr>
            <a:xfrm>
              <a:off x="3731300" y="1671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10" name="Elipse 9"/>
            <p:cNvSpPr/>
            <p:nvPr/>
          </p:nvSpPr>
          <p:spPr>
            <a:xfrm>
              <a:off x="5117489" y="1653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11" name="Retângulo 10">
              <a:hlinkClick r:id="" action="ppaction://noaction"/>
            </p:cNvPr>
            <p:cNvSpPr/>
            <p:nvPr/>
          </p:nvSpPr>
          <p:spPr>
            <a:xfrm>
              <a:off x="3816301" y="1182256"/>
              <a:ext cx="1149715" cy="3705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Conexão com a biblioteca  X</a:t>
              </a:r>
            </a:p>
          </p:txBody>
        </p:sp>
        <p:sp>
          <p:nvSpPr>
            <p:cNvPr id="13" name="Retângulo 12">
              <a:hlinkClick r:id="" action="ppaction://noaction"/>
            </p:cNvPr>
            <p:cNvSpPr/>
            <p:nvPr/>
          </p:nvSpPr>
          <p:spPr>
            <a:xfrm>
              <a:off x="4490236" y="2125095"/>
              <a:ext cx="510422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XYZ</a:t>
              </a:r>
            </a:p>
          </p:txBody>
        </p:sp>
        <p:sp>
          <p:nvSpPr>
            <p:cNvPr id="14" name="Retângulo 13">
              <a:hlinkClick r:id="" action="ppaction://noaction"/>
            </p:cNvPr>
            <p:cNvSpPr/>
            <p:nvPr/>
          </p:nvSpPr>
          <p:spPr>
            <a:xfrm>
              <a:off x="7878371" y="1166249"/>
              <a:ext cx="1026103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Testes</a:t>
              </a:r>
            </a:p>
          </p:txBody>
        </p:sp>
        <p:cxnSp>
          <p:nvCxnSpPr>
            <p:cNvPr id="15" name="Conector angulado 14"/>
            <p:cNvCxnSpPr>
              <a:cxnSpLocks/>
              <a:stCxn id="26" idx="4"/>
              <a:endCxn id="29" idx="0"/>
            </p:cNvCxnSpPr>
            <p:nvPr/>
          </p:nvCxnSpPr>
          <p:spPr>
            <a:xfrm rot="5400000">
              <a:off x="4020315" y="1434801"/>
              <a:ext cx="327646" cy="1052942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ector angulado 15"/>
            <p:cNvCxnSpPr>
              <a:stCxn id="11" idx="2"/>
              <a:endCxn id="8" idx="0"/>
            </p:cNvCxnSpPr>
            <p:nvPr/>
          </p:nvCxnSpPr>
          <p:spPr>
            <a:xfrm rot="5400000">
              <a:off x="4037920" y="1318209"/>
              <a:ext cx="118620" cy="587858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ector angulado 17"/>
            <p:cNvCxnSpPr>
              <a:stCxn id="13" idx="0"/>
              <a:endCxn id="10" idx="4"/>
            </p:cNvCxnSpPr>
            <p:nvPr/>
          </p:nvCxnSpPr>
          <p:spPr>
            <a:xfrm rot="5400000" flipH="1" flipV="1">
              <a:off x="4803645" y="1739251"/>
              <a:ext cx="327646" cy="444043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ector angulado 18"/>
            <p:cNvCxnSpPr>
              <a:stCxn id="14" idx="2"/>
              <a:endCxn id="25" idx="0"/>
            </p:cNvCxnSpPr>
            <p:nvPr/>
          </p:nvCxnSpPr>
          <p:spPr>
            <a:xfrm rot="5400000">
              <a:off x="7964050" y="1226075"/>
              <a:ext cx="270509" cy="584238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FF6D00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tângulo 20">
              <a:hlinkClick r:id="" action="ppaction://noaction"/>
            </p:cNvPr>
            <p:cNvSpPr/>
            <p:nvPr/>
          </p:nvSpPr>
          <p:spPr>
            <a:xfrm>
              <a:off x="5141448" y="1173707"/>
              <a:ext cx="1069648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Tela de Cadastro</a:t>
              </a:r>
            </a:p>
          </p:txBody>
        </p:sp>
        <p:sp>
          <p:nvSpPr>
            <p:cNvPr id="22" name="Elipse 21"/>
            <p:cNvSpPr/>
            <p:nvPr/>
          </p:nvSpPr>
          <p:spPr>
            <a:xfrm>
              <a:off x="7477532" y="1653449"/>
              <a:ext cx="144000" cy="144000"/>
            </a:xfrm>
            <a:prstGeom prst="ellipse">
              <a:avLst/>
            </a:prstGeom>
            <a:solidFill>
              <a:srgbClr val="FF6D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23" name="Retângulo 22">
              <a:hlinkClick r:id="" action="ppaction://noaction"/>
            </p:cNvPr>
            <p:cNvSpPr/>
            <p:nvPr/>
          </p:nvSpPr>
          <p:spPr>
            <a:xfrm>
              <a:off x="6770457" y="2125095"/>
              <a:ext cx="1109087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 err="1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Deploy</a:t>
              </a:r>
              <a:endParaRPr lang="pt-BR" sz="1470" dirty="0">
                <a:solidFill>
                  <a:srgbClr val="4D4D4D"/>
                </a:solidFill>
                <a:latin typeface="Simplon Oi Headline" pitchFamily="2" charset="0"/>
                <a:cs typeface="Simplon Oi Headline"/>
              </a:endParaRPr>
            </a:p>
          </p:txBody>
        </p:sp>
        <p:cxnSp>
          <p:nvCxnSpPr>
            <p:cNvPr id="24" name="Conector angulado 23"/>
            <p:cNvCxnSpPr>
              <a:stCxn id="22" idx="4"/>
              <a:endCxn id="23" idx="0"/>
            </p:cNvCxnSpPr>
            <p:nvPr/>
          </p:nvCxnSpPr>
          <p:spPr>
            <a:xfrm rot="5400000">
              <a:off x="7273444" y="1849006"/>
              <a:ext cx="327646" cy="224532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FF6D00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Elipse 24"/>
            <p:cNvSpPr/>
            <p:nvPr/>
          </p:nvSpPr>
          <p:spPr>
            <a:xfrm>
              <a:off x="7741731" y="1653449"/>
              <a:ext cx="130909" cy="144000"/>
            </a:xfrm>
            <a:prstGeom prst="ellipse">
              <a:avLst/>
            </a:prstGeom>
            <a:solidFill>
              <a:srgbClr val="FF6D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26" name="Elipse 25"/>
            <p:cNvSpPr/>
            <p:nvPr/>
          </p:nvSpPr>
          <p:spPr>
            <a:xfrm>
              <a:off x="4638609" y="1653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27" name="CaixaDeTexto 26"/>
            <p:cNvSpPr txBox="1"/>
            <p:nvPr/>
          </p:nvSpPr>
          <p:spPr>
            <a:xfrm>
              <a:off x="1935125" y="573561"/>
              <a:ext cx="4875031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p:spPr>
          <p:txBody>
            <a:bodyPr wrap="none" rtlCol="0" anchor="ctr">
              <a:noAutofit/>
            </a:bodyPr>
            <a:lstStyle>
              <a:defPPr>
                <a:defRPr lang="pt-BR"/>
              </a:defPPr>
              <a:lvl1pPr algn="ctr">
                <a:defRPr>
                  <a:solidFill>
                    <a:schemeClr val="bg1">
                      <a:lumMod val="65000"/>
                    </a:schemeClr>
                  </a:solidFill>
                </a:defRPr>
              </a:lvl1pPr>
            </a:lstStyle>
            <a:p>
              <a:r>
                <a:rPr lang="pt-BR" sz="1764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Sprint 2</a:t>
              </a:r>
            </a:p>
          </p:txBody>
        </p:sp>
        <p:sp>
          <p:nvSpPr>
            <p:cNvPr id="28" name="CaixaDeTexto 27"/>
            <p:cNvSpPr txBox="1"/>
            <p:nvPr/>
          </p:nvSpPr>
          <p:spPr>
            <a:xfrm>
              <a:off x="6810157" y="573561"/>
              <a:ext cx="2160000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p:spPr>
          <p:txBody>
            <a:bodyPr wrap="none" rtlCol="0" anchor="ctr">
              <a:noAutofit/>
            </a:bodyPr>
            <a:lstStyle>
              <a:defPPr>
                <a:defRPr lang="pt-BR"/>
              </a:defPPr>
              <a:lvl1pPr algn="ctr">
                <a:defRPr>
                  <a:solidFill>
                    <a:schemeClr val="bg1">
                      <a:lumMod val="65000"/>
                    </a:schemeClr>
                  </a:solidFill>
                </a:defRPr>
              </a:lvl1pPr>
            </a:lstStyle>
            <a:p>
              <a:r>
                <a:rPr lang="pt-BR" sz="1764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Sprint 3</a:t>
              </a:r>
            </a:p>
          </p:txBody>
        </p:sp>
        <p:sp>
          <p:nvSpPr>
            <p:cNvPr id="29" name="Retângulo 28">
              <a:hlinkClick r:id="" action="ppaction://noaction"/>
            </p:cNvPr>
            <p:cNvSpPr/>
            <p:nvPr/>
          </p:nvSpPr>
          <p:spPr>
            <a:xfrm>
              <a:off x="3367814" y="2125095"/>
              <a:ext cx="579706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ÇLKJH</a:t>
              </a:r>
            </a:p>
          </p:txBody>
        </p:sp>
        <p:sp>
          <p:nvSpPr>
            <p:cNvPr id="33" name="Elipse 32"/>
            <p:cNvSpPr/>
            <p:nvPr/>
          </p:nvSpPr>
          <p:spPr>
            <a:xfrm>
              <a:off x="5881086" y="1673873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cxnSp>
          <p:nvCxnSpPr>
            <p:cNvPr id="34" name="Conector angulado 33"/>
            <p:cNvCxnSpPr>
              <a:cxnSpLocks/>
              <a:stCxn id="33" idx="0"/>
              <a:endCxn id="21" idx="2"/>
            </p:cNvCxnSpPr>
            <p:nvPr/>
          </p:nvCxnSpPr>
          <p:spPr>
            <a:xfrm rot="16200000" flipV="1">
              <a:off x="5672943" y="1393729"/>
              <a:ext cx="283475" cy="276814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Conector angulado 34"/>
            <p:cNvCxnSpPr>
              <a:stCxn id="37" idx="4"/>
              <a:endCxn id="38" idx="0"/>
            </p:cNvCxnSpPr>
            <p:nvPr/>
          </p:nvCxnSpPr>
          <p:spPr>
            <a:xfrm rot="5400000">
              <a:off x="6234794" y="1791752"/>
              <a:ext cx="317476" cy="364869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Elipse 36"/>
            <p:cNvSpPr/>
            <p:nvPr/>
          </p:nvSpPr>
          <p:spPr>
            <a:xfrm>
              <a:off x="6503966" y="1671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38" name="Retângulo 37">
              <a:hlinkClick r:id="" action="ppaction://noaction"/>
            </p:cNvPr>
            <p:cNvSpPr/>
            <p:nvPr/>
          </p:nvSpPr>
          <p:spPr>
            <a:xfrm>
              <a:off x="5605472" y="2132925"/>
              <a:ext cx="1211250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2 telas no </a:t>
              </a:r>
              <a:r>
                <a:rPr lang="pt-BR" sz="1470" dirty="0" err="1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React</a:t>
              </a:r>
              <a:endParaRPr lang="pt-BR" sz="1470" dirty="0">
                <a:solidFill>
                  <a:srgbClr val="4D4D4D"/>
                </a:solidFill>
                <a:latin typeface="Simplon Oi Headline" pitchFamily="2" charset="0"/>
                <a:cs typeface="Simplon Oi Headline"/>
              </a:endParaRPr>
            </a:p>
          </p:txBody>
        </p:sp>
        <p:cxnSp>
          <p:nvCxnSpPr>
            <p:cNvPr id="39" name="Conector reto 38"/>
            <p:cNvCxnSpPr/>
            <p:nvPr/>
          </p:nvCxnSpPr>
          <p:spPr>
            <a:xfrm flipH="1">
              <a:off x="135893" y="1745497"/>
              <a:ext cx="2160000" cy="0"/>
            </a:xfrm>
            <a:prstGeom prst="line">
              <a:avLst/>
            </a:prstGeom>
            <a:ln>
              <a:solidFill>
                <a:srgbClr val="00B050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CaixaDeTexto 39"/>
            <p:cNvSpPr txBox="1"/>
            <p:nvPr/>
          </p:nvSpPr>
          <p:spPr>
            <a:xfrm>
              <a:off x="138459" y="573561"/>
              <a:ext cx="2160000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p:spPr>
          <p:txBody>
            <a:bodyPr wrap="none" rtlCol="0" anchor="ctr">
              <a:noAutofit/>
            </a:bodyPr>
            <a:lstStyle>
              <a:defPPr>
                <a:defRPr lang="pt-BR"/>
              </a:defPPr>
              <a:lvl1pPr>
                <a:defRPr>
                  <a:solidFill>
                    <a:schemeClr val="bg1">
                      <a:lumMod val="65000"/>
                    </a:schemeClr>
                  </a:solidFill>
                </a:defRPr>
              </a:lvl1pPr>
            </a:lstStyle>
            <a:p>
              <a:pPr algn="ctr"/>
              <a:r>
                <a:rPr lang="pt-BR" sz="1764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Sprint 1</a:t>
              </a:r>
            </a:p>
          </p:txBody>
        </p:sp>
        <p:sp>
          <p:nvSpPr>
            <p:cNvPr id="43" name="Retângulo 42">
              <a:hlinkClick r:id="" action="ppaction://noaction"/>
            </p:cNvPr>
            <p:cNvSpPr/>
            <p:nvPr/>
          </p:nvSpPr>
          <p:spPr>
            <a:xfrm>
              <a:off x="2682611" y="1182256"/>
              <a:ext cx="1323234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Criação do banco</a:t>
              </a:r>
            </a:p>
          </p:txBody>
        </p:sp>
        <p:sp>
          <p:nvSpPr>
            <p:cNvPr id="49" name="Retângulo 48">
              <a:hlinkClick r:id="" action="ppaction://noaction"/>
            </p:cNvPr>
            <p:cNvSpPr/>
            <p:nvPr/>
          </p:nvSpPr>
          <p:spPr>
            <a:xfrm>
              <a:off x="348753" y="2550860"/>
              <a:ext cx="2159999" cy="67833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52049" indent="-252049" algn="ctr">
                <a:buFont typeface="Wingdings" panose="05000000000000000000" pitchFamily="2" charset="2"/>
                <a:buChar char="ü"/>
              </a:pPr>
              <a:r>
                <a:rPr lang="pt-BR" sz="2940" b="1" dirty="0">
                  <a:solidFill>
                    <a:schemeClr val="accent5">
                      <a:lumMod val="75000"/>
                    </a:schemeClr>
                  </a:solidFill>
                  <a:latin typeface="Simplon Oi Headline" pitchFamily="2" charset="0"/>
                  <a:cs typeface="Simplon Oi Headline"/>
                </a:rPr>
                <a:t>Documentação e Fundação</a:t>
              </a:r>
            </a:p>
          </p:txBody>
        </p:sp>
      </p:grpSp>
      <p:sp>
        <p:nvSpPr>
          <p:cNvPr id="46" name="Espaço Reservado para Texto 2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2232000" y="376545"/>
            <a:ext cx="9178064" cy="40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defTabSz="457200" eaLnBrk="1" hangingPunct="1">
              <a:lnSpc>
                <a:spcPts val="2000"/>
              </a:lnSpc>
              <a:spcBef>
                <a:spcPts val="900"/>
              </a:spcBef>
              <a:buClr>
                <a:schemeClr val="tx1"/>
              </a:buClr>
              <a:buFont typeface="Arial"/>
              <a:buNone/>
              <a:defRPr lang="pt-BR" sz="1500" b="0" dirty="0" smtClean="0">
                <a:solidFill>
                  <a:srgbClr val="4D4D4D"/>
                </a:solidFill>
                <a:latin typeface="Simplon Oi Headline" pitchFamily="2" charset="0"/>
                <a:ea typeface="+mj-ea"/>
                <a:cs typeface="Arial" panose="020B0604020202020204" pitchFamily="34" charset="0"/>
              </a:defRPr>
            </a:lvl1pPr>
            <a:lvl2pPr marL="1588" indent="0" defTabSz="955675" eaLnBrk="0" hangingPunct="0">
              <a:spcBef>
                <a:spcPct val="20000"/>
              </a:spcBef>
              <a:buClr>
                <a:schemeClr val="tx1"/>
              </a:buClr>
              <a:buNone/>
              <a:defRPr sz="1600">
                <a:solidFill>
                  <a:schemeClr val="tx1"/>
                </a:solidFill>
                <a:latin typeface="+mn-lt"/>
              </a:defRPr>
            </a:lvl2pPr>
            <a:lvl3pPr marL="323850" indent="-171450" defTabSz="955675" eaLnBrk="0" hangingPunct="0">
              <a:spcBef>
                <a:spcPct val="20000"/>
              </a:spcBef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95300" indent="-150813" defTabSz="955675" eaLnBrk="0" hangingPunct="0">
              <a:spcBef>
                <a:spcPct val="20000"/>
              </a:spcBef>
              <a:buClr>
                <a:schemeClr val="tx1"/>
              </a:buClr>
              <a:buSzPct val="80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696913" indent="-200025" defTabSz="955675" eaLnBrk="0" hangingPunct="0">
              <a:spcBef>
                <a:spcPct val="20000"/>
              </a:spcBef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1541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6113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20685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5257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fontAlgn="base">
              <a:lnSpc>
                <a:spcPct val="100000"/>
              </a:lnSpc>
              <a:spcBef>
                <a:spcPct val="0"/>
              </a:spcBef>
              <a:spcAft>
                <a:spcPts val="882"/>
              </a:spcAft>
              <a:buClr>
                <a:prstClr val="black"/>
              </a:buClr>
            </a:pPr>
            <a:r>
              <a:rPr sz="2646" dirty="0">
                <a:solidFill>
                  <a:prstClr val="black"/>
                </a:solidFill>
                <a:latin typeface="Simplon Oi Headline"/>
                <a:cs typeface="Simplon Oi Headline"/>
              </a:rPr>
              <a:t>Exemplo 1 de </a:t>
            </a:r>
            <a:r>
              <a:rPr sz="2646" dirty="0" err="1">
                <a:solidFill>
                  <a:prstClr val="black"/>
                </a:solidFill>
                <a:latin typeface="Simplon Oi Headline"/>
                <a:cs typeface="Simplon Oi Headline"/>
              </a:rPr>
              <a:t>Timeline</a:t>
            </a:r>
            <a:r>
              <a:rPr sz="2646" dirty="0">
                <a:solidFill>
                  <a:prstClr val="black"/>
                </a:solidFill>
                <a:latin typeface="Simplon Oi Headline"/>
                <a:cs typeface="Simplon Oi Headline"/>
              </a:rPr>
              <a:t> para o projeto dividido por Frente/Sprint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3856079" y="1721208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1</a:t>
            </a:r>
          </a:p>
        </p:txBody>
      </p:sp>
      <p:sp>
        <p:nvSpPr>
          <p:cNvPr id="44" name="CaixaDeTexto 43"/>
          <p:cNvSpPr txBox="1"/>
          <p:nvPr/>
        </p:nvSpPr>
        <p:spPr>
          <a:xfrm>
            <a:off x="5607087" y="1711604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2</a:t>
            </a:r>
          </a:p>
        </p:txBody>
      </p:sp>
      <p:sp>
        <p:nvSpPr>
          <p:cNvPr id="45" name="CaixaDeTexto 44"/>
          <p:cNvSpPr txBox="1"/>
          <p:nvPr/>
        </p:nvSpPr>
        <p:spPr>
          <a:xfrm>
            <a:off x="7197854" y="1730810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3</a:t>
            </a:r>
          </a:p>
        </p:txBody>
      </p:sp>
      <p:cxnSp>
        <p:nvCxnSpPr>
          <p:cNvPr id="5" name="Conector reto 4"/>
          <p:cNvCxnSpPr/>
          <p:nvPr/>
        </p:nvCxnSpPr>
        <p:spPr>
          <a:xfrm>
            <a:off x="5053552" y="1725974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Conector reto 46"/>
          <p:cNvCxnSpPr/>
          <p:nvPr/>
        </p:nvCxnSpPr>
        <p:spPr>
          <a:xfrm>
            <a:off x="6763386" y="1724554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Conector reto 47"/>
          <p:cNvCxnSpPr/>
          <p:nvPr/>
        </p:nvCxnSpPr>
        <p:spPr>
          <a:xfrm>
            <a:off x="3413004" y="1734160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Conector reto 49"/>
          <p:cNvCxnSpPr/>
          <p:nvPr/>
        </p:nvCxnSpPr>
        <p:spPr>
          <a:xfrm>
            <a:off x="9997593" y="1734160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Retângulo 3">
            <a:hlinkClick r:id="" action="ppaction://noaction"/>
            <a:extLst>
              <a:ext uri="{FF2B5EF4-FFF2-40B4-BE49-F238E27FC236}">
                <a16:creationId xmlns:a16="http://schemas.microsoft.com/office/drawing/2014/main" id="{1F0CBBDC-2315-430E-AEEA-C6591C07E4A2}"/>
              </a:ext>
            </a:extLst>
          </p:cNvPr>
          <p:cNvSpPr/>
          <p:nvPr/>
        </p:nvSpPr>
        <p:spPr>
          <a:xfrm>
            <a:off x="5229498" y="4261759"/>
            <a:ext cx="3311955" cy="9971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2049" indent="-252049" algn="ctr">
              <a:buFont typeface="Wingdings" panose="05000000000000000000" pitchFamily="2" charset="2"/>
              <a:buChar char="ü"/>
            </a:pPr>
            <a:r>
              <a:rPr lang="pt-BR" sz="2940" b="1" dirty="0">
                <a:solidFill>
                  <a:srgbClr val="4D4D4D"/>
                </a:solidFill>
                <a:latin typeface="Simplon Oi Headline" pitchFamily="2" charset="0"/>
                <a:cs typeface="Simplon Oi Headline"/>
              </a:rPr>
              <a:t> Fundação e Construção</a:t>
            </a:r>
          </a:p>
        </p:txBody>
      </p:sp>
      <p:sp>
        <p:nvSpPr>
          <p:cNvPr id="9" name="Retângulo 8">
            <a:hlinkClick r:id="" action="ppaction://noaction"/>
            <a:extLst>
              <a:ext uri="{FF2B5EF4-FFF2-40B4-BE49-F238E27FC236}">
                <a16:creationId xmlns:a16="http://schemas.microsoft.com/office/drawing/2014/main" id="{52DD515D-7F63-4291-A3C3-68035A28B582}"/>
              </a:ext>
            </a:extLst>
          </p:cNvPr>
          <p:cNvSpPr/>
          <p:nvPr/>
        </p:nvSpPr>
        <p:spPr>
          <a:xfrm>
            <a:off x="10130642" y="4109233"/>
            <a:ext cx="3311955" cy="9971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2049" indent="-252049" algn="ctr">
              <a:buFont typeface="Wingdings" panose="05000000000000000000" pitchFamily="2" charset="2"/>
              <a:buChar char="ü"/>
            </a:pPr>
            <a:r>
              <a:rPr lang="pt-BR" sz="2940" b="1" dirty="0">
                <a:solidFill>
                  <a:srgbClr val="F48D27"/>
                </a:solidFill>
                <a:latin typeface="Simplon Oi Headline" pitchFamily="2" charset="0"/>
                <a:cs typeface="Simplon Oi Headline"/>
              </a:rPr>
              <a:t> Construção e Implantação </a:t>
            </a:r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C5380733-6F5D-4194-9AD2-D0B5F3C93AE1}"/>
              </a:ext>
            </a:extLst>
          </p:cNvPr>
          <p:cNvSpPr/>
          <p:nvPr/>
        </p:nvSpPr>
        <p:spPr>
          <a:xfrm>
            <a:off x="858729" y="2915861"/>
            <a:ext cx="211689" cy="211689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52">
              <a:solidFill>
                <a:schemeClr val="tx1"/>
              </a:solidFill>
            </a:endParaRP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48C035DA-C79B-40E7-8C87-ED0980B37601}"/>
              </a:ext>
            </a:extLst>
          </p:cNvPr>
          <p:cNvSpPr txBox="1"/>
          <p:nvPr/>
        </p:nvSpPr>
        <p:spPr>
          <a:xfrm rot="16200000">
            <a:off x="-1703767" y="3060365"/>
            <a:ext cx="3947552" cy="423378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</a:ln>
        </p:spPr>
        <p:txBody>
          <a:bodyPr wrap="none" rtlCol="0" anchor="ctr">
            <a:noAutofit/>
          </a:bodyPr>
          <a:lstStyle>
            <a:defPPr>
              <a:defRPr lang="pt-BR"/>
            </a:defPPr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ctr"/>
            <a:r>
              <a:rPr lang="pt-BR" sz="1764" b="1" dirty="0" err="1">
                <a:solidFill>
                  <a:prstClr val="black"/>
                </a:solidFill>
                <a:latin typeface="Calibri" panose="020F0502020204030204" pitchFamily="34" charset="0"/>
              </a:rPr>
              <a:t>Backend</a:t>
            </a:r>
            <a:endParaRPr lang="pt-BR" sz="1764" b="1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cxnSp>
        <p:nvCxnSpPr>
          <p:cNvPr id="36" name="Conector reto 35">
            <a:extLst>
              <a:ext uri="{FF2B5EF4-FFF2-40B4-BE49-F238E27FC236}">
                <a16:creationId xmlns:a16="http://schemas.microsoft.com/office/drawing/2014/main" id="{30B5B7B8-CF33-4805-88BA-E17C33356786}"/>
              </a:ext>
            </a:extLst>
          </p:cNvPr>
          <p:cNvCxnSpPr>
            <a:cxnSpLocks/>
          </p:cNvCxnSpPr>
          <p:nvPr/>
        </p:nvCxnSpPr>
        <p:spPr>
          <a:xfrm>
            <a:off x="8239947" y="1722606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CaixaDeTexto 54">
            <a:extLst>
              <a:ext uri="{FF2B5EF4-FFF2-40B4-BE49-F238E27FC236}">
                <a16:creationId xmlns:a16="http://schemas.microsoft.com/office/drawing/2014/main" id="{5C9EC840-FF5E-45B9-A112-87013926B770}"/>
              </a:ext>
            </a:extLst>
          </p:cNvPr>
          <p:cNvSpPr txBox="1"/>
          <p:nvPr/>
        </p:nvSpPr>
        <p:spPr>
          <a:xfrm>
            <a:off x="8646094" y="1708575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4</a:t>
            </a:r>
          </a:p>
        </p:txBody>
      </p:sp>
      <p:sp>
        <p:nvSpPr>
          <p:cNvPr id="63" name="Elipse 62">
            <a:extLst>
              <a:ext uri="{FF2B5EF4-FFF2-40B4-BE49-F238E27FC236}">
                <a16:creationId xmlns:a16="http://schemas.microsoft.com/office/drawing/2014/main" id="{E12AB2F3-8086-4DC1-AA1C-06995EAC28B9}"/>
              </a:ext>
            </a:extLst>
          </p:cNvPr>
          <p:cNvSpPr/>
          <p:nvPr/>
        </p:nvSpPr>
        <p:spPr>
          <a:xfrm>
            <a:off x="3909010" y="2915970"/>
            <a:ext cx="211689" cy="211689"/>
          </a:xfrm>
          <a:prstGeom prst="ellipse">
            <a:avLst/>
          </a:prstGeom>
          <a:solidFill>
            <a:srgbClr val="4D4D4D"/>
          </a:solidFill>
          <a:ln>
            <a:solidFill>
              <a:srgbClr val="4D4D4D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52">
              <a:solidFill>
                <a:prstClr val="white"/>
              </a:solidFill>
            </a:endParaRPr>
          </a:p>
        </p:txBody>
      </p:sp>
      <p:cxnSp>
        <p:nvCxnSpPr>
          <p:cNvPr id="64" name="Conector angulado 15">
            <a:extLst>
              <a:ext uri="{FF2B5EF4-FFF2-40B4-BE49-F238E27FC236}">
                <a16:creationId xmlns:a16="http://schemas.microsoft.com/office/drawing/2014/main" id="{F17307C4-DF1B-413B-A553-2F35F9B23221}"/>
              </a:ext>
            </a:extLst>
          </p:cNvPr>
          <p:cNvCxnSpPr>
            <a:cxnSpLocks/>
            <a:stCxn id="43" idx="2"/>
            <a:endCxn id="63" idx="0"/>
          </p:cNvCxnSpPr>
          <p:nvPr/>
        </p:nvCxnSpPr>
        <p:spPr>
          <a:xfrm rot="5400000">
            <a:off x="4410392" y="2172839"/>
            <a:ext cx="347594" cy="1138668"/>
          </a:xfrm>
          <a:prstGeom prst="bentConnector3">
            <a:avLst>
              <a:gd name="adj1" fmla="val 50000"/>
            </a:avLst>
          </a:prstGeom>
          <a:ln>
            <a:solidFill>
              <a:srgbClr val="4D4D4D"/>
            </a:solidFill>
            <a:prstDash val="sysDash"/>
            <a:head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351545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Rectangle 20"/>
          <p:cNvSpPr>
            <a:spLocks noChangeArrowheads="1"/>
          </p:cNvSpPr>
          <p:nvPr/>
        </p:nvSpPr>
        <p:spPr bwMode="auto">
          <a:xfrm>
            <a:off x="12462383" y="2027832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27" name="Rectangle 20"/>
          <p:cNvSpPr>
            <a:spLocks noChangeArrowheads="1"/>
          </p:cNvSpPr>
          <p:nvPr/>
        </p:nvSpPr>
        <p:spPr bwMode="auto">
          <a:xfrm>
            <a:off x="10709558" y="2027832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28" name="Rectangle 70"/>
          <p:cNvSpPr>
            <a:spLocks noChangeArrowheads="1"/>
          </p:cNvSpPr>
          <p:nvPr/>
        </p:nvSpPr>
        <p:spPr bwMode="auto">
          <a:xfrm>
            <a:off x="11585971" y="2027832"/>
            <a:ext cx="806535" cy="5411898"/>
          </a:xfrm>
          <a:prstGeom prst="rect">
            <a:avLst/>
          </a:prstGeom>
          <a:solidFill>
            <a:srgbClr val="BBE0E3">
              <a:alpha val="38000"/>
            </a:srgb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6" name="Espaço Reservado para Texto 5">
            <a:extLst>
              <a:ext uri="{FF2B5EF4-FFF2-40B4-BE49-F238E27FC236}">
                <a16:creationId xmlns:a16="http://schemas.microsoft.com/office/drawing/2014/main" id="{5ECE0D3F-86BE-4110-BC4E-2C200CAEB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0" name="Title 2"/>
          <p:cNvSpPr>
            <a:spLocks noGrp="1"/>
          </p:cNvSpPr>
          <p:nvPr>
            <p:ph type="title" idx="4294967295"/>
          </p:nvPr>
        </p:nvSpPr>
        <p:spPr>
          <a:xfrm>
            <a:off x="2323780" y="161590"/>
            <a:ext cx="7513563" cy="571500"/>
          </a:xfrm>
          <a:prstGeom prst="rect">
            <a:avLst/>
          </a:prstGeom>
        </p:spPr>
        <p:txBody>
          <a:bodyPr lIns="105844" tIns="0" rIns="105844" bIns="0" anchor="t">
            <a:noAutofit/>
          </a:bodyPr>
          <a:lstStyle/>
          <a:p>
            <a:pPr>
              <a:lnSpc>
                <a:spcPct val="100000"/>
              </a:lnSpc>
              <a:spcAft>
                <a:spcPts val="882"/>
              </a:spcAft>
              <a:buClr>
                <a:prstClr val="black"/>
              </a:buClr>
            </a:pPr>
            <a:r>
              <a:rPr lang="pt-BR" sz="2646" dirty="0">
                <a:solidFill>
                  <a:prstClr val="black"/>
                </a:solidFill>
                <a:latin typeface="Simplon Oi Headline" pitchFamily="2" charset="0"/>
                <a:cs typeface="Arial" panose="020B0604020202020204" pitchFamily="34" charset="0"/>
              </a:rPr>
              <a:t>Exemplo 2 de </a:t>
            </a:r>
            <a:r>
              <a:rPr lang="pt-BR" sz="2646" dirty="0" err="1">
                <a:solidFill>
                  <a:prstClr val="black"/>
                </a:solidFill>
                <a:latin typeface="Simplon Oi Headline" pitchFamily="2" charset="0"/>
                <a:cs typeface="Arial" panose="020B0604020202020204" pitchFamily="34" charset="0"/>
              </a:rPr>
              <a:t>Timeline</a:t>
            </a:r>
            <a:r>
              <a:rPr lang="pt-BR" sz="2646" dirty="0">
                <a:solidFill>
                  <a:prstClr val="black"/>
                </a:solidFill>
                <a:latin typeface="Simplon Oi Headline" pitchFamily="2" charset="0"/>
                <a:cs typeface="Arial" panose="020B0604020202020204" pitchFamily="34" charset="0"/>
              </a:rPr>
              <a:t> para o projeto por semana</a:t>
            </a:r>
            <a:endParaRPr lang="en-US" sz="2646" dirty="0">
              <a:solidFill>
                <a:prstClr val="black"/>
              </a:solidFill>
              <a:latin typeface="Simplon Oi Headline" pitchFamily="2" charset="0"/>
              <a:cs typeface="Arial" panose="020B0604020202020204" pitchFamily="34" charset="0"/>
            </a:endParaRPr>
          </a:p>
        </p:txBody>
      </p:sp>
      <p:sp>
        <p:nvSpPr>
          <p:cNvPr id="74" name="Rectangle 20"/>
          <p:cNvSpPr>
            <a:spLocks noChangeArrowheads="1"/>
          </p:cNvSpPr>
          <p:nvPr/>
        </p:nvSpPr>
        <p:spPr bwMode="auto">
          <a:xfrm>
            <a:off x="167688" y="2035960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75" name="Rectangle 70"/>
          <p:cNvSpPr>
            <a:spLocks noChangeArrowheads="1"/>
          </p:cNvSpPr>
          <p:nvPr/>
        </p:nvSpPr>
        <p:spPr bwMode="auto">
          <a:xfrm>
            <a:off x="1060461" y="2089776"/>
            <a:ext cx="806535" cy="5411898"/>
          </a:xfrm>
          <a:prstGeom prst="rect">
            <a:avLst/>
          </a:prstGeom>
          <a:solidFill>
            <a:srgbClr val="BBE0E3">
              <a:alpha val="38000"/>
            </a:srgb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77" name="Rectangle 20"/>
          <p:cNvSpPr>
            <a:spLocks noChangeArrowheads="1"/>
          </p:cNvSpPr>
          <p:nvPr/>
        </p:nvSpPr>
        <p:spPr bwMode="auto">
          <a:xfrm>
            <a:off x="1920513" y="2035960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78" name="Rectangle 70"/>
          <p:cNvSpPr>
            <a:spLocks noChangeArrowheads="1"/>
          </p:cNvSpPr>
          <p:nvPr/>
        </p:nvSpPr>
        <p:spPr bwMode="auto">
          <a:xfrm>
            <a:off x="2796926" y="2080767"/>
            <a:ext cx="806535" cy="5411898"/>
          </a:xfrm>
          <a:prstGeom prst="rect">
            <a:avLst/>
          </a:prstGeom>
          <a:solidFill>
            <a:srgbClr val="BBE0E3">
              <a:alpha val="38000"/>
            </a:srgb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79" name="Rectangle 20"/>
          <p:cNvSpPr>
            <a:spLocks noChangeArrowheads="1"/>
          </p:cNvSpPr>
          <p:nvPr/>
        </p:nvSpPr>
        <p:spPr bwMode="auto">
          <a:xfrm>
            <a:off x="3673339" y="2035960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80" name="Rectangle 70"/>
          <p:cNvSpPr>
            <a:spLocks noChangeArrowheads="1"/>
          </p:cNvSpPr>
          <p:nvPr/>
        </p:nvSpPr>
        <p:spPr bwMode="auto">
          <a:xfrm>
            <a:off x="4549751" y="2035960"/>
            <a:ext cx="806535" cy="5411898"/>
          </a:xfrm>
          <a:prstGeom prst="rect">
            <a:avLst/>
          </a:prstGeom>
          <a:solidFill>
            <a:srgbClr val="BBE0E3">
              <a:alpha val="38000"/>
            </a:srgb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81" name="Rectangle 20"/>
          <p:cNvSpPr>
            <a:spLocks noChangeArrowheads="1"/>
          </p:cNvSpPr>
          <p:nvPr/>
        </p:nvSpPr>
        <p:spPr bwMode="auto">
          <a:xfrm>
            <a:off x="5426164" y="2035960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82" name="Rectangle 70"/>
          <p:cNvSpPr>
            <a:spLocks noChangeArrowheads="1"/>
          </p:cNvSpPr>
          <p:nvPr/>
        </p:nvSpPr>
        <p:spPr bwMode="auto">
          <a:xfrm>
            <a:off x="6302576" y="2035960"/>
            <a:ext cx="806535" cy="5411898"/>
          </a:xfrm>
          <a:prstGeom prst="rect">
            <a:avLst/>
          </a:prstGeom>
          <a:solidFill>
            <a:srgbClr val="BBE0E3">
              <a:alpha val="38000"/>
            </a:srgb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83" name="Rectangle 20"/>
          <p:cNvSpPr>
            <a:spLocks noChangeArrowheads="1"/>
          </p:cNvSpPr>
          <p:nvPr/>
        </p:nvSpPr>
        <p:spPr bwMode="auto">
          <a:xfrm>
            <a:off x="7178989" y="2035960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84" name="Rectangle 70"/>
          <p:cNvSpPr>
            <a:spLocks noChangeArrowheads="1"/>
          </p:cNvSpPr>
          <p:nvPr/>
        </p:nvSpPr>
        <p:spPr bwMode="auto">
          <a:xfrm>
            <a:off x="8010995" y="2089776"/>
            <a:ext cx="806535" cy="5411898"/>
          </a:xfrm>
          <a:prstGeom prst="rect">
            <a:avLst/>
          </a:prstGeom>
          <a:solidFill>
            <a:srgbClr val="BBE0E3">
              <a:alpha val="38000"/>
            </a:srgb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85" name="Rectangle 20"/>
          <p:cNvSpPr>
            <a:spLocks noChangeArrowheads="1"/>
          </p:cNvSpPr>
          <p:nvPr/>
        </p:nvSpPr>
        <p:spPr bwMode="auto">
          <a:xfrm>
            <a:off x="8931814" y="2035960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86" name="Rectangle 22"/>
          <p:cNvSpPr>
            <a:spLocks noChangeArrowheads="1"/>
          </p:cNvSpPr>
          <p:nvPr/>
        </p:nvSpPr>
        <p:spPr bwMode="auto">
          <a:xfrm>
            <a:off x="7178989" y="3894040"/>
            <a:ext cx="806535" cy="5411898"/>
          </a:xfrm>
          <a:prstGeom prst="rect">
            <a:avLst/>
          </a:prstGeom>
          <a:solidFill>
            <a:srgbClr val="BBE0E3">
              <a:alpha val="38000"/>
            </a:srgb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06" name="AutoShape 54"/>
          <p:cNvSpPr>
            <a:spLocks noChangeArrowheads="1"/>
          </p:cNvSpPr>
          <p:nvPr/>
        </p:nvSpPr>
        <p:spPr bwMode="auto">
          <a:xfrm>
            <a:off x="3743219" y="4827548"/>
            <a:ext cx="3365893" cy="1477910"/>
          </a:xfrm>
          <a:prstGeom prst="homePlate">
            <a:avLst>
              <a:gd name="adj" fmla="val 16364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defTabSz="1344259" eaLnBrk="0" hangingPunct="0">
              <a:defRPr/>
            </a:pPr>
            <a:r>
              <a:rPr lang="pt-BR" sz="1764" b="1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Criação de Artefatos</a:t>
            </a:r>
          </a:p>
          <a:p>
            <a:pPr marL="420081" indent="-420081" defTabSz="1344259" eaLnBrk="0" hangingPunct="0">
              <a:buFontTx/>
              <a:buChar char="-"/>
              <a:defRPr/>
            </a:pPr>
            <a:r>
              <a:rPr lang="pt-BR" sz="1764" b="1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Caderno de Testes</a:t>
            </a:r>
          </a:p>
          <a:p>
            <a:pPr marL="420081" indent="-420081" defTabSz="1344259" eaLnBrk="0" hangingPunct="0">
              <a:buFontTx/>
              <a:buChar char="-"/>
              <a:defRPr/>
            </a:pPr>
            <a:r>
              <a:rPr lang="pt-BR" sz="1764" b="1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Plano de WWWWW</a:t>
            </a:r>
          </a:p>
          <a:p>
            <a:pPr marL="420081" indent="-420081" defTabSz="1344259" eaLnBrk="0" hangingPunct="0">
              <a:buFontTx/>
              <a:buChar char="-"/>
              <a:defRPr/>
            </a:pPr>
            <a:r>
              <a:rPr lang="pt-BR" sz="1764" b="1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Plano de XXXXXXXX</a:t>
            </a:r>
          </a:p>
          <a:p>
            <a:pPr marL="420081" indent="-420081" defTabSz="1344259" eaLnBrk="0" hangingPunct="0">
              <a:buFontTx/>
              <a:buChar char="-"/>
              <a:defRPr/>
            </a:pPr>
            <a:r>
              <a:rPr lang="pt-BR" sz="1764" b="1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Desenho YYYYYYYY</a:t>
            </a:r>
          </a:p>
        </p:txBody>
      </p:sp>
      <p:sp>
        <p:nvSpPr>
          <p:cNvPr id="107" name="AutoShape 54"/>
          <p:cNvSpPr>
            <a:spLocks noChangeArrowheads="1"/>
          </p:cNvSpPr>
          <p:nvPr/>
        </p:nvSpPr>
        <p:spPr bwMode="auto">
          <a:xfrm>
            <a:off x="-89141" y="2737552"/>
            <a:ext cx="1780576" cy="1208661"/>
          </a:xfrm>
          <a:prstGeom prst="homePlate">
            <a:avLst>
              <a:gd name="adj" fmla="val 16364"/>
            </a:avLst>
          </a:prstGeom>
          <a:noFill/>
          <a:ln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1344259" eaLnBrk="0" hangingPunct="0">
              <a:defRPr/>
            </a:pPr>
            <a:r>
              <a:rPr lang="pt-BR" sz="1764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Definição dos Grupos</a:t>
            </a:r>
          </a:p>
        </p:txBody>
      </p:sp>
      <p:sp>
        <p:nvSpPr>
          <p:cNvPr id="108" name="AutoShape 54"/>
          <p:cNvSpPr>
            <a:spLocks noChangeArrowheads="1"/>
          </p:cNvSpPr>
          <p:nvPr/>
        </p:nvSpPr>
        <p:spPr bwMode="auto">
          <a:xfrm>
            <a:off x="1723681" y="5193771"/>
            <a:ext cx="1810455" cy="1111687"/>
          </a:xfrm>
          <a:prstGeom prst="homePlate">
            <a:avLst>
              <a:gd name="adj" fmla="val 16364"/>
            </a:avLst>
          </a:prstGeom>
          <a:noFill/>
          <a:ln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1344259" eaLnBrk="0" hangingPunct="0">
              <a:defRPr/>
            </a:pPr>
            <a:r>
              <a:rPr lang="pt-BR" sz="1764" kern="0" dirty="0">
                <a:solidFill>
                  <a:schemeClr val="tx1"/>
                </a:solidFill>
                <a:latin typeface="Arial"/>
                <a:cs typeface="Calibri" pitchFamily="34" charset="0"/>
              </a:rPr>
              <a:t>Validação do Professor </a:t>
            </a:r>
            <a:r>
              <a:rPr lang="pt-BR" sz="1764" kern="0" dirty="0" err="1">
                <a:solidFill>
                  <a:schemeClr val="tx1"/>
                </a:solidFill>
                <a:latin typeface="Arial"/>
                <a:cs typeface="Calibri" pitchFamily="34" charset="0"/>
              </a:rPr>
              <a:t>xxxx</a:t>
            </a:r>
            <a:endParaRPr lang="pt-BR" sz="1764" kern="0" dirty="0">
              <a:solidFill>
                <a:schemeClr val="tx1"/>
              </a:solidFill>
              <a:latin typeface="Arial"/>
              <a:cs typeface="Calibri" pitchFamily="34" charset="0"/>
            </a:endParaRPr>
          </a:p>
        </p:txBody>
      </p:sp>
      <p:sp>
        <p:nvSpPr>
          <p:cNvPr id="110" name="AutoShape 54"/>
          <p:cNvSpPr>
            <a:spLocks noChangeArrowheads="1"/>
          </p:cNvSpPr>
          <p:nvPr/>
        </p:nvSpPr>
        <p:spPr bwMode="auto">
          <a:xfrm>
            <a:off x="7223797" y="5654873"/>
            <a:ext cx="3377067" cy="1008548"/>
          </a:xfrm>
          <a:prstGeom prst="homePlate">
            <a:avLst>
              <a:gd name="adj" fmla="val 16364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1344259" eaLnBrk="0" hangingPunct="0">
              <a:defRPr/>
            </a:pPr>
            <a:r>
              <a:rPr lang="pt-BR" sz="1764" b="1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Setup XXXX do Ambiente de teste e execução da homologação da ambiente</a:t>
            </a:r>
          </a:p>
        </p:txBody>
      </p:sp>
      <p:sp>
        <p:nvSpPr>
          <p:cNvPr id="118" name="AutoShape 54"/>
          <p:cNvSpPr>
            <a:spLocks noChangeArrowheads="1"/>
          </p:cNvSpPr>
          <p:nvPr/>
        </p:nvSpPr>
        <p:spPr bwMode="auto">
          <a:xfrm>
            <a:off x="16418889" y="5790512"/>
            <a:ext cx="229875" cy="444547"/>
          </a:xfrm>
          <a:prstGeom prst="homePlate">
            <a:avLst>
              <a:gd name="adj" fmla="val 16364"/>
            </a:avLst>
          </a:prstGeom>
          <a:solidFill>
            <a:srgbClr val="006699">
              <a:lumMod val="60000"/>
              <a:lumOff val="40000"/>
            </a:srgbClr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vert="vert270" anchor="ctr"/>
          <a:lstStyle/>
          <a:p>
            <a:pPr algn="ctr" defTabSz="1344259" eaLnBrk="0" hangingPunct="0">
              <a:defRPr/>
            </a:pPr>
            <a:endParaRPr lang="pt-BR" sz="1323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1" name="AutoShape 54"/>
          <p:cNvSpPr>
            <a:spLocks noChangeArrowheads="1"/>
          </p:cNvSpPr>
          <p:nvPr/>
        </p:nvSpPr>
        <p:spPr bwMode="auto">
          <a:xfrm>
            <a:off x="11187351" y="6392768"/>
            <a:ext cx="2151446" cy="962396"/>
          </a:xfrm>
          <a:prstGeom prst="homePlate">
            <a:avLst>
              <a:gd name="adj" fmla="val 16364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1344259" eaLnBrk="0" hangingPunct="0">
              <a:defRPr/>
            </a:pPr>
            <a:r>
              <a:rPr lang="pt-BR" sz="1764" b="1" kern="0" dirty="0">
                <a:solidFill>
                  <a:schemeClr val="tx1"/>
                </a:solidFill>
                <a:latin typeface="Arial"/>
                <a:cs typeface="Calibri" pitchFamily="34" charset="0"/>
              </a:rPr>
              <a:t>Inicio </a:t>
            </a:r>
            <a:r>
              <a:rPr lang="pt-BR" sz="1764" b="1" kern="0" dirty="0" err="1">
                <a:solidFill>
                  <a:schemeClr val="tx1"/>
                </a:solidFill>
                <a:latin typeface="Arial"/>
                <a:cs typeface="Calibri" pitchFamily="34" charset="0"/>
              </a:rPr>
              <a:t>Rollout</a:t>
            </a:r>
            <a:endParaRPr lang="pt-BR" sz="1764" b="1" kern="0" dirty="0">
              <a:solidFill>
                <a:schemeClr val="tx1"/>
              </a:solidFill>
              <a:latin typeface="Arial"/>
              <a:cs typeface="Calibri" pitchFamily="34" charset="0"/>
            </a:endParaRPr>
          </a:p>
        </p:txBody>
      </p:sp>
      <p:sp>
        <p:nvSpPr>
          <p:cNvPr id="122" name="AutoShape 54"/>
          <p:cNvSpPr>
            <a:spLocks noChangeArrowheads="1"/>
          </p:cNvSpPr>
          <p:nvPr/>
        </p:nvSpPr>
        <p:spPr bwMode="auto">
          <a:xfrm>
            <a:off x="727573" y="3890798"/>
            <a:ext cx="1693147" cy="1047600"/>
          </a:xfrm>
          <a:prstGeom prst="homePlate">
            <a:avLst>
              <a:gd name="adj" fmla="val 16364"/>
            </a:avLst>
          </a:prstGeom>
          <a:noFill/>
          <a:ln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1344259" eaLnBrk="0" hangingPunct="0">
              <a:defRPr/>
            </a:pPr>
            <a:r>
              <a:rPr lang="pt-BR" sz="1764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Definição do Tema </a:t>
            </a:r>
            <a:r>
              <a:rPr lang="pt-BR" sz="1764" kern="0" dirty="0" err="1">
                <a:solidFill>
                  <a:srgbClr val="000000"/>
                </a:solidFill>
                <a:latin typeface="Arial"/>
                <a:cs typeface="Calibri" pitchFamily="34" charset="0"/>
              </a:rPr>
              <a:t>xxx</a:t>
            </a:r>
            <a:endParaRPr lang="pt-BR" sz="1764" kern="0" dirty="0">
              <a:solidFill>
                <a:srgbClr val="000000"/>
              </a:solidFill>
              <a:latin typeface="Arial"/>
              <a:cs typeface="Calibri" pitchFamily="34" charset="0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297804" y="2332557"/>
            <a:ext cx="989078" cy="361987"/>
          </a:xfrm>
          <a:prstGeom prst="rect">
            <a:avLst/>
          </a:prstGeom>
        </p:spPr>
        <p:txBody>
          <a:bodyPr vert="horz" wrap="square" lIns="134422" tIns="67211" rIns="134422" bIns="67211" rtlCol="0" anchor="ctr">
            <a:noAutofit/>
          </a:bodyPr>
          <a:lstStyle/>
          <a:p>
            <a:r>
              <a:rPr lang="pt-BR" sz="1764" b="1" dirty="0">
                <a:latin typeface="Simplon BP"/>
              </a:rPr>
              <a:t>08/XX</a:t>
            </a:r>
          </a:p>
        </p:txBody>
      </p:sp>
      <p:sp>
        <p:nvSpPr>
          <p:cNvPr id="125" name="CaixaDeTexto 124"/>
          <p:cNvSpPr txBox="1"/>
          <p:nvPr/>
        </p:nvSpPr>
        <p:spPr>
          <a:xfrm>
            <a:off x="9002471" y="5168354"/>
            <a:ext cx="989078" cy="361987"/>
          </a:xfrm>
          <a:prstGeom prst="rect">
            <a:avLst/>
          </a:prstGeom>
        </p:spPr>
        <p:txBody>
          <a:bodyPr vert="horz" wrap="square" lIns="134422" tIns="67211" rIns="134422" bIns="67211" rtlCol="0" anchor="ctr">
            <a:noAutofit/>
          </a:bodyPr>
          <a:lstStyle/>
          <a:p>
            <a:r>
              <a:rPr lang="pt-BR" sz="1764" b="1" dirty="0">
                <a:latin typeface="Simplon BP"/>
              </a:rPr>
              <a:t>08/XX</a:t>
            </a:r>
          </a:p>
        </p:txBody>
      </p:sp>
      <p:sp>
        <p:nvSpPr>
          <p:cNvPr id="126" name="CaixaDeTexto 125"/>
          <p:cNvSpPr txBox="1"/>
          <p:nvPr/>
        </p:nvSpPr>
        <p:spPr>
          <a:xfrm>
            <a:off x="2076687" y="4635522"/>
            <a:ext cx="989078" cy="361987"/>
          </a:xfrm>
          <a:prstGeom prst="rect">
            <a:avLst/>
          </a:prstGeom>
        </p:spPr>
        <p:txBody>
          <a:bodyPr vert="horz" wrap="square" lIns="134422" tIns="67211" rIns="134422" bIns="67211" rtlCol="0" anchor="ctr">
            <a:noAutofit/>
          </a:bodyPr>
          <a:lstStyle/>
          <a:p>
            <a:r>
              <a:rPr lang="pt-BR" sz="1764" b="1" dirty="0">
                <a:latin typeface="Simplon BP"/>
              </a:rPr>
              <a:t>09/XX</a:t>
            </a:r>
          </a:p>
        </p:txBody>
      </p:sp>
      <p:sp>
        <p:nvSpPr>
          <p:cNvPr id="7" name="Estrela de 5 Pontas 6"/>
          <p:cNvSpPr/>
          <p:nvPr/>
        </p:nvSpPr>
        <p:spPr>
          <a:xfrm>
            <a:off x="10610308" y="5785542"/>
            <a:ext cx="535195" cy="633657"/>
          </a:xfrm>
          <a:prstGeom prst="star5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087"/>
          </a:p>
        </p:txBody>
      </p:sp>
      <p:sp>
        <p:nvSpPr>
          <p:cNvPr id="8" name="Texto Explicativo Retangular 7"/>
          <p:cNvSpPr/>
          <p:nvPr/>
        </p:nvSpPr>
        <p:spPr>
          <a:xfrm>
            <a:off x="11065441" y="2900210"/>
            <a:ext cx="2445102" cy="1895515"/>
          </a:xfrm>
          <a:prstGeom prst="wedgeRectCallout">
            <a:avLst>
              <a:gd name="adj1" fmla="val -50624"/>
              <a:gd name="adj2" fmla="val 100442"/>
            </a:avLst>
          </a:prstGeom>
          <a:solidFill>
            <a:schemeClr val="bg1"/>
          </a:solidFill>
          <a:ln>
            <a:solidFill>
              <a:srgbClr val="4D4D4D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764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idação dos resultados dos testes com acordo de todos os envolvidos XXXX  </a:t>
            </a:r>
          </a:p>
        </p:txBody>
      </p:sp>
      <p:sp>
        <p:nvSpPr>
          <p:cNvPr id="131" name="AutoShape 54"/>
          <p:cNvSpPr>
            <a:spLocks noChangeArrowheads="1"/>
          </p:cNvSpPr>
          <p:nvPr/>
        </p:nvSpPr>
        <p:spPr bwMode="auto">
          <a:xfrm>
            <a:off x="10639680" y="1459955"/>
            <a:ext cx="2685218" cy="632030"/>
          </a:xfrm>
          <a:prstGeom prst="homePlate">
            <a:avLst>
              <a:gd name="adj" fmla="val 16364"/>
            </a:avLst>
          </a:prstGeom>
          <a:solidFill>
            <a:srgbClr val="FFFFFF">
              <a:lumMod val="50000"/>
            </a:srgbClr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defTabSz="1344259" eaLnBrk="0" hangingPunct="0">
              <a:defRPr/>
            </a:pPr>
            <a:r>
              <a:rPr lang="pt-BR" sz="2352" b="1" kern="0" dirty="0">
                <a:solidFill>
                  <a:srgbClr val="FFFFFF"/>
                </a:solidFill>
                <a:latin typeface="Arial"/>
                <a:cs typeface="Calibri" pitchFamily="34" charset="0"/>
              </a:rPr>
              <a:t>Semana 4</a:t>
            </a:r>
          </a:p>
        </p:txBody>
      </p:sp>
      <p:sp>
        <p:nvSpPr>
          <p:cNvPr id="124" name="AutoShape 54"/>
          <p:cNvSpPr>
            <a:spLocks noChangeArrowheads="1"/>
          </p:cNvSpPr>
          <p:nvPr/>
        </p:nvSpPr>
        <p:spPr bwMode="auto">
          <a:xfrm>
            <a:off x="7065000" y="1453832"/>
            <a:ext cx="3739127" cy="638151"/>
          </a:xfrm>
          <a:prstGeom prst="homePlate">
            <a:avLst>
              <a:gd name="adj" fmla="val 16364"/>
            </a:avLst>
          </a:prstGeom>
          <a:solidFill>
            <a:srgbClr val="FFFFFF">
              <a:lumMod val="50000"/>
            </a:srgbClr>
          </a:solidFill>
          <a:ln>
            <a:solidFill>
              <a:schemeClr val="bg1"/>
            </a:solidFill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defTabSz="1344259" eaLnBrk="0" hangingPunct="0">
              <a:defRPr/>
            </a:pPr>
            <a:r>
              <a:rPr lang="pt-BR" sz="2352" b="1" kern="0" dirty="0">
                <a:solidFill>
                  <a:srgbClr val="FFFFFF"/>
                </a:solidFill>
                <a:latin typeface="Arial"/>
                <a:cs typeface="Calibri" pitchFamily="34" charset="0"/>
              </a:rPr>
              <a:t>Semana 3</a:t>
            </a:r>
          </a:p>
        </p:txBody>
      </p:sp>
      <p:sp>
        <p:nvSpPr>
          <p:cNvPr id="105" name="AutoShape 54"/>
          <p:cNvSpPr>
            <a:spLocks noChangeArrowheads="1"/>
          </p:cNvSpPr>
          <p:nvPr/>
        </p:nvSpPr>
        <p:spPr bwMode="auto">
          <a:xfrm>
            <a:off x="3648268" y="1453832"/>
            <a:ext cx="3575528" cy="638151"/>
          </a:xfrm>
          <a:prstGeom prst="homePlate">
            <a:avLst>
              <a:gd name="adj" fmla="val 16364"/>
            </a:avLst>
          </a:prstGeom>
          <a:solidFill>
            <a:srgbClr val="FFFFFF">
              <a:lumMod val="50000"/>
            </a:srgbClr>
          </a:solidFill>
          <a:ln>
            <a:solidFill>
              <a:schemeClr val="bg1"/>
            </a:solidFill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defTabSz="1344259" eaLnBrk="0" hangingPunct="0">
              <a:defRPr/>
            </a:pPr>
            <a:r>
              <a:rPr lang="pt-BR" sz="2352" b="1" kern="0" dirty="0">
                <a:solidFill>
                  <a:srgbClr val="FFFFFF"/>
                </a:solidFill>
                <a:latin typeface="Arial"/>
                <a:cs typeface="Calibri" pitchFamily="34" charset="0"/>
              </a:rPr>
              <a:t>Semana 2</a:t>
            </a:r>
          </a:p>
        </p:txBody>
      </p:sp>
      <p:sp>
        <p:nvSpPr>
          <p:cNvPr id="104" name="AutoShape 54"/>
          <p:cNvSpPr>
            <a:spLocks noChangeArrowheads="1"/>
          </p:cNvSpPr>
          <p:nvPr/>
        </p:nvSpPr>
        <p:spPr bwMode="auto">
          <a:xfrm>
            <a:off x="167689" y="1454616"/>
            <a:ext cx="3671172" cy="645150"/>
          </a:xfrm>
          <a:prstGeom prst="homePlate">
            <a:avLst>
              <a:gd name="adj" fmla="val 16364"/>
            </a:avLst>
          </a:prstGeom>
          <a:solidFill>
            <a:srgbClr val="FFFFFF">
              <a:lumMod val="50000"/>
            </a:srgbClr>
          </a:solidFill>
          <a:ln>
            <a:solidFill>
              <a:schemeClr val="bg1"/>
            </a:solidFill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defTabSz="1344259" eaLnBrk="0" hangingPunct="0">
              <a:defRPr/>
            </a:pPr>
            <a:r>
              <a:rPr lang="pt-BR" sz="2352" b="1" kern="0" dirty="0">
                <a:solidFill>
                  <a:srgbClr val="FFFFFF"/>
                </a:solidFill>
                <a:latin typeface="Arial"/>
                <a:cs typeface="Calibri" pitchFamily="34" charset="0"/>
              </a:rPr>
              <a:t>Semana 1</a:t>
            </a:r>
          </a:p>
        </p:txBody>
      </p:sp>
      <p:sp>
        <p:nvSpPr>
          <p:cNvPr id="9" name="Elipse 8"/>
          <p:cNvSpPr/>
          <p:nvPr/>
        </p:nvSpPr>
        <p:spPr>
          <a:xfrm>
            <a:off x="596716" y="2707507"/>
            <a:ext cx="296134" cy="32573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087"/>
          </a:p>
        </p:txBody>
      </p:sp>
      <p:sp>
        <p:nvSpPr>
          <p:cNvPr id="134" name="Elipse 133"/>
          <p:cNvSpPr/>
          <p:nvPr/>
        </p:nvSpPr>
        <p:spPr>
          <a:xfrm>
            <a:off x="1369269" y="3804783"/>
            <a:ext cx="296134" cy="32573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087"/>
          </a:p>
        </p:txBody>
      </p:sp>
      <p:sp>
        <p:nvSpPr>
          <p:cNvPr id="135" name="Elipse 134"/>
          <p:cNvSpPr/>
          <p:nvPr/>
        </p:nvSpPr>
        <p:spPr>
          <a:xfrm>
            <a:off x="2346513" y="4999650"/>
            <a:ext cx="296134" cy="32573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087"/>
          </a:p>
        </p:txBody>
      </p:sp>
      <p:sp>
        <p:nvSpPr>
          <p:cNvPr id="2" name="AutoShape 54">
            <a:extLst>
              <a:ext uri="{FF2B5EF4-FFF2-40B4-BE49-F238E27FC236}">
                <a16:creationId xmlns:a16="http://schemas.microsoft.com/office/drawing/2014/main" id="{E9E56096-A37E-4E04-B585-F38CE69E2C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23797" y="4495376"/>
            <a:ext cx="1838374" cy="1008548"/>
          </a:xfrm>
          <a:prstGeom prst="homePlate">
            <a:avLst>
              <a:gd name="adj" fmla="val 16364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1344259" eaLnBrk="0" hangingPunct="0">
              <a:defRPr/>
            </a:pPr>
            <a:r>
              <a:rPr lang="pt-BR" sz="1764" b="1" kern="0" dirty="0" err="1">
                <a:solidFill>
                  <a:srgbClr val="000000"/>
                </a:solidFill>
                <a:latin typeface="Arial"/>
                <a:cs typeface="Calibri" pitchFamily="34" charset="0"/>
              </a:rPr>
              <a:t>Desenv</a:t>
            </a:r>
            <a:r>
              <a:rPr lang="pt-BR" sz="1764" b="1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 da Aplicação XPTO</a:t>
            </a:r>
          </a:p>
        </p:txBody>
      </p:sp>
      <p:sp>
        <p:nvSpPr>
          <p:cNvPr id="3" name="Estrela de 5 Pontas 6">
            <a:extLst>
              <a:ext uri="{FF2B5EF4-FFF2-40B4-BE49-F238E27FC236}">
                <a16:creationId xmlns:a16="http://schemas.microsoft.com/office/drawing/2014/main" id="{AD16236F-7568-4F98-A604-6EC65AD0D66C}"/>
              </a:ext>
            </a:extLst>
          </p:cNvPr>
          <p:cNvSpPr/>
          <p:nvPr/>
        </p:nvSpPr>
        <p:spPr>
          <a:xfrm>
            <a:off x="9106979" y="4586208"/>
            <a:ext cx="535195" cy="633657"/>
          </a:xfrm>
          <a:prstGeom prst="star5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087"/>
          </a:p>
        </p:txBody>
      </p:sp>
      <p:sp>
        <p:nvSpPr>
          <p:cNvPr id="5" name="Texto Explicativo Retangular 7">
            <a:extLst>
              <a:ext uri="{FF2B5EF4-FFF2-40B4-BE49-F238E27FC236}">
                <a16:creationId xmlns:a16="http://schemas.microsoft.com/office/drawing/2014/main" id="{A7519FE8-CE66-44F1-85D2-72BA40AEFFE9}"/>
              </a:ext>
            </a:extLst>
          </p:cNvPr>
          <p:cNvSpPr/>
          <p:nvPr/>
        </p:nvSpPr>
        <p:spPr>
          <a:xfrm>
            <a:off x="8055403" y="2738144"/>
            <a:ext cx="2445102" cy="709690"/>
          </a:xfrm>
          <a:prstGeom prst="wedgeRectCallout">
            <a:avLst>
              <a:gd name="adj1" fmla="val 2037"/>
              <a:gd name="adj2" fmla="val 178182"/>
            </a:avLst>
          </a:prstGeom>
          <a:solidFill>
            <a:schemeClr val="bg1"/>
          </a:solidFill>
          <a:ln>
            <a:solidFill>
              <a:srgbClr val="4D4D4D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764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loy</a:t>
            </a:r>
            <a:r>
              <a:rPr lang="pt-BR" sz="1764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m ambiente de testes 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DF44FE3B-8CD1-4551-B052-AB416A48BF0F}"/>
              </a:ext>
            </a:extLst>
          </p:cNvPr>
          <p:cNvSpPr txBox="1"/>
          <p:nvPr/>
        </p:nvSpPr>
        <p:spPr>
          <a:xfrm>
            <a:off x="1102263" y="3392028"/>
            <a:ext cx="989078" cy="361987"/>
          </a:xfrm>
          <a:prstGeom prst="rect">
            <a:avLst/>
          </a:prstGeom>
        </p:spPr>
        <p:txBody>
          <a:bodyPr vert="horz" wrap="square" lIns="134422" tIns="67211" rIns="134422" bIns="67211" rtlCol="0" anchor="ctr">
            <a:noAutofit/>
          </a:bodyPr>
          <a:lstStyle/>
          <a:p>
            <a:r>
              <a:rPr lang="pt-BR" sz="1764" b="1" dirty="0">
                <a:latin typeface="Simplon BP"/>
              </a:rPr>
              <a:t>09/XX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11EF466B-D50F-49BE-8901-F4314447EC7A}"/>
              </a:ext>
            </a:extLst>
          </p:cNvPr>
          <p:cNvSpPr txBox="1"/>
          <p:nvPr/>
        </p:nvSpPr>
        <p:spPr>
          <a:xfrm>
            <a:off x="10453916" y="6540130"/>
            <a:ext cx="989078" cy="361987"/>
          </a:xfrm>
          <a:prstGeom prst="rect">
            <a:avLst/>
          </a:prstGeom>
        </p:spPr>
        <p:txBody>
          <a:bodyPr vert="horz" wrap="square" lIns="134422" tIns="67211" rIns="134422" bIns="67211" rtlCol="0" anchor="ctr">
            <a:noAutofit/>
          </a:bodyPr>
          <a:lstStyle/>
          <a:p>
            <a:r>
              <a:rPr lang="pt-BR" sz="1764" b="1" dirty="0">
                <a:latin typeface="Simplon BP"/>
              </a:rPr>
              <a:t>08/XX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11F63061-82C5-4CBE-AF39-7668F95413AC}"/>
              </a:ext>
            </a:extLst>
          </p:cNvPr>
          <p:cNvSpPr txBox="1"/>
          <p:nvPr/>
        </p:nvSpPr>
        <p:spPr>
          <a:xfrm>
            <a:off x="4524581" y="3842528"/>
            <a:ext cx="989078" cy="361987"/>
          </a:xfrm>
          <a:prstGeom prst="rect">
            <a:avLst/>
          </a:prstGeom>
        </p:spPr>
        <p:txBody>
          <a:bodyPr vert="horz" wrap="square" lIns="134422" tIns="67211" rIns="134422" bIns="67211" rtlCol="0" anchor="ctr">
            <a:noAutofit/>
          </a:bodyPr>
          <a:lstStyle/>
          <a:p>
            <a:r>
              <a:rPr lang="pt-BR" sz="1764" b="1" dirty="0">
                <a:latin typeface="Simplon BP"/>
              </a:rPr>
              <a:t>08/XX</a:t>
            </a:r>
          </a:p>
        </p:txBody>
      </p:sp>
      <p:sp>
        <p:nvSpPr>
          <p:cNvPr id="13" name="Estrela de 5 Pontas 6">
            <a:extLst>
              <a:ext uri="{FF2B5EF4-FFF2-40B4-BE49-F238E27FC236}">
                <a16:creationId xmlns:a16="http://schemas.microsoft.com/office/drawing/2014/main" id="{AD22261C-D7D8-4F88-A384-FA0A3A6B653B}"/>
              </a:ext>
            </a:extLst>
          </p:cNvPr>
          <p:cNvSpPr/>
          <p:nvPr/>
        </p:nvSpPr>
        <p:spPr>
          <a:xfrm>
            <a:off x="4629088" y="3260383"/>
            <a:ext cx="535195" cy="633657"/>
          </a:xfrm>
          <a:prstGeom prst="star5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087"/>
          </a:p>
        </p:txBody>
      </p:sp>
      <p:sp>
        <p:nvSpPr>
          <p:cNvPr id="14" name="AutoShape 54">
            <a:extLst>
              <a:ext uri="{FF2B5EF4-FFF2-40B4-BE49-F238E27FC236}">
                <a16:creationId xmlns:a16="http://schemas.microsoft.com/office/drawing/2014/main" id="{50F5334B-AE01-42AE-9885-3F4B46D4DC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7688" y="807671"/>
            <a:ext cx="13101230" cy="587950"/>
          </a:xfrm>
          <a:prstGeom prst="homePlate">
            <a:avLst>
              <a:gd name="adj" fmla="val 16364"/>
            </a:avLst>
          </a:prstGeom>
          <a:solidFill>
            <a:srgbClr val="FFFFFF">
              <a:lumMod val="50000"/>
            </a:srgbClr>
          </a:solidFill>
          <a:ln>
            <a:solidFill>
              <a:schemeClr val="bg1"/>
            </a:solidFill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defTabSz="1344259" eaLnBrk="0" hangingPunct="0">
              <a:defRPr/>
            </a:pPr>
            <a:r>
              <a:rPr lang="pt-BR" sz="2352" b="1" kern="0" dirty="0">
                <a:solidFill>
                  <a:srgbClr val="FFFFFF"/>
                </a:solidFill>
                <a:latin typeface="Arial"/>
                <a:cs typeface="Calibri" pitchFamily="34" charset="0"/>
              </a:rPr>
              <a:t>Sprint 1</a:t>
            </a:r>
          </a:p>
        </p:txBody>
      </p:sp>
    </p:spTree>
    <p:extLst>
      <p:ext uri="{BB962C8B-B14F-4D97-AF65-F5344CB8AC3E}">
        <p14:creationId xmlns:p14="http://schemas.microsoft.com/office/powerpoint/2010/main" val="31031464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UoH135xkKn7JAvLhvVd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6Olsd.iU6lEer2z_MIt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UoH135xkKn7JAvLhvVd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6Olsd.iU6lEer2z_MItw"/>
</p:tagLst>
</file>

<file path=ppt/theme/theme1.xml><?xml version="1.0" encoding="utf-8"?>
<a:theme xmlns:a="http://schemas.openxmlformats.org/drawingml/2006/main" name="Conteúd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Encerramento / Agradeciment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Personalizar design">
  <a:themeElements>
    <a:clrScheme name="sptech">
      <a:dk1>
        <a:srgbClr val="1C1C1C"/>
      </a:dk1>
      <a:lt1>
        <a:srgbClr val="FFFFFF"/>
      </a:lt1>
      <a:dk2>
        <a:srgbClr val="111111"/>
      </a:dk2>
      <a:lt2>
        <a:srgbClr val="FFFFFF"/>
      </a:lt2>
      <a:accent1>
        <a:srgbClr val="1F2A44"/>
      </a:accent1>
      <a:accent2>
        <a:srgbClr val="D0D3D4"/>
      </a:accent2>
      <a:accent3>
        <a:srgbClr val="63B1BC"/>
      </a:accent3>
      <a:accent4>
        <a:srgbClr val="ED145B"/>
      </a:accent4>
      <a:accent5>
        <a:srgbClr val="EFB661"/>
      </a:accent5>
      <a:accent6>
        <a:srgbClr val="0762C8"/>
      </a:accent6>
      <a:hlink>
        <a:srgbClr val="92D050"/>
      </a:hlink>
      <a:folHlink>
        <a:srgbClr val="FF0000"/>
      </a:folHlink>
    </a:clrScheme>
    <a:fontScheme name="transicao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s_Collaboration_Space_Locked xmlns="bbcd8c33-6940-4d4c-a587-bbc736ca1e4d" xsi:nil="true"/>
    <TeamsChannelId xmlns="bbcd8c33-6940-4d4c-a587-bbc736ca1e4d" xsi:nil="true"/>
    <Self_Registration_Enabled xmlns="bbcd8c33-6940-4d4c-a587-bbc736ca1e4d" xsi:nil="true"/>
    <Math_Settings xmlns="bbcd8c33-6940-4d4c-a587-bbc736ca1e4d" xsi:nil="true"/>
    <AppVersion xmlns="bbcd8c33-6940-4d4c-a587-bbc736ca1e4d" xsi:nil="true"/>
    <Invited_Teachers xmlns="bbcd8c33-6940-4d4c-a587-bbc736ca1e4d" xsi:nil="true"/>
    <LMS_Mappings xmlns="bbcd8c33-6940-4d4c-a587-bbc736ca1e4d" xsi:nil="true"/>
    <IsNotebookLocked xmlns="bbcd8c33-6940-4d4c-a587-bbc736ca1e4d" xsi:nil="true"/>
    <NotebookType xmlns="bbcd8c33-6940-4d4c-a587-bbc736ca1e4d" xsi:nil="true"/>
    <Templates xmlns="bbcd8c33-6940-4d4c-a587-bbc736ca1e4d" xsi:nil="true"/>
    <Owner xmlns="bbcd8c33-6940-4d4c-a587-bbc736ca1e4d">
      <UserInfo>
        <DisplayName/>
        <AccountId xsi:nil="true"/>
        <AccountType/>
      </UserInfo>
    </Owner>
    <Teachers xmlns="bbcd8c33-6940-4d4c-a587-bbc736ca1e4d">
      <UserInfo>
        <DisplayName/>
        <AccountId xsi:nil="true"/>
        <AccountType/>
      </UserInfo>
    </Teachers>
    <Students xmlns="bbcd8c33-6940-4d4c-a587-bbc736ca1e4d">
      <UserInfo>
        <DisplayName/>
        <AccountId xsi:nil="true"/>
        <AccountType/>
      </UserInfo>
    </Students>
    <Student_Groups xmlns="bbcd8c33-6940-4d4c-a587-bbc736ca1e4d">
      <UserInfo>
        <DisplayName/>
        <AccountId xsi:nil="true"/>
        <AccountType/>
      </UserInfo>
    </Student_Groups>
    <Distribution_Groups xmlns="bbcd8c33-6940-4d4c-a587-bbc736ca1e4d" xsi:nil="true"/>
    <Self_Registration_Enabled0 xmlns="bbcd8c33-6940-4d4c-a587-bbc736ca1e4d" xsi:nil="true"/>
    <Has_Teacher_Only_SectionGroup xmlns="bbcd8c33-6940-4d4c-a587-bbc736ca1e4d" xsi:nil="true"/>
    <DefaultSectionNames xmlns="bbcd8c33-6940-4d4c-a587-bbc736ca1e4d" xsi:nil="true"/>
    <Invited_Students xmlns="bbcd8c33-6940-4d4c-a587-bbc736ca1e4d" xsi:nil="true"/>
    <FolderType xmlns="bbcd8c33-6940-4d4c-a587-bbc736ca1e4d" xsi:nil="true"/>
    <CultureName xmlns="bbcd8c33-6940-4d4c-a587-bbc736ca1e4d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132905C37EA9847A7207C4BBCCCD8F4" ma:contentTypeVersion="34" ma:contentTypeDescription="Create a new document." ma:contentTypeScope="" ma:versionID="2f28daba72ca6e92be87ea70ebe5bb94">
  <xsd:schema xmlns:xsd="http://www.w3.org/2001/XMLSchema" xmlns:xs="http://www.w3.org/2001/XMLSchema" xmlns:p="http://schemas.microsoft.com/office/2006/metadata/properties" xmlns:ns3="4327b14a-fe89-488e-9f6d-9658cacf372b" xmlns:ns4="bbcd8c33-6940-4d4c-a587-bbc736ca1e4d" targetNamespace="http://schemas.microsoft.com/office/2006/metadata/properties" ma:root="true" ma:fieldsID="df18e839ce2650f1975b41376e6cdb6b" ns3:_="" ns4:_="">
    <xsd:import namespace="4327b14a-fe89-488e-9f6d-9658cacf372b"/>
    <xsd:import namespace="bbcd8c33-6940-4d4c-a587-bbc736ca1e4d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NotebookType" minOccurs="0"/>
                <xsd:element ref="ns4:FolderType" minOccurs="0"/>
                <xsd:element ref="ns4:Owner" minOccurs="0"/>
                <xsd:element ref="ns4:DefaultSectionNames" minOccurs="0"/>
                <xsd:element ref="ns4:AppVersion" minOccurs="0"/>
                <xsd:element ref="ns4:Teachers" minOccurs="0"/>
                <xsd:element ref="ns4:Students" minOccurs="0"/>
                <xsd:element ref="ns4:Student_Groups" minOccurs="0"/>
                <xsd:element ref="ns4:Invited_Teachers" minOccurs="0"/>
                <xsd:element ref="ns4:Invited_Students" minOccurs="0"/>
                <xsd:element ref="ns4:Self_Registration_Enabled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EventHashCode" minOccurs="0"/>
                <xsd:element ref="ns4:MediaServiceGenerationTime" minOccurs="0"/>
                <xsd:element ref="ns4:MediaServiceLocation" minOccurs="0"/>
                <xsd:element ref="ns4:CultureName" minOccurs="0"/>
                <xsd:element ref="ns4:TeamsChannelId" minOccurs="0"/>
                <xsd:element ref="ns4:Math_Settings" minOccurs="0"/>
                <xsd:element ref="ns4:Templates" minOccurs="0"/>
                <xsd:element ref="ns4:Distribution_Groups" minOccurs="0"/>
                <xsd:element ref="ns4:LMS_Mappings" minOccurs="0"/>
                <xsd:element ref="ns4:Self_Registration_Enabled0" minOccurs="0"/>
                <xsd:element ref="ns4:Has_Teacher_Only_SectionGroup" minOccurs="0"/>
                <xsd:element ref="ns4:Is_Collaboration_Space_Locked" minOccurs="0"/>
                <xsd:element ref="ns4:IsNotebookLocked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27b14a-fe89-488e-9f6d-9658cacf372b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cd8c33-6940-4d4c-a587-bbc736ca1e4d" elementFormDefault="qualified">
    <xsd:import namespace="http://schemas.microsoft.com/office/2006/documentManagement/types"/>
    <xsd:import namespace="http://schemas.microsoft.com/office/infopath/2007/PartnerControls"/>
    <xsd:element name="NotebookType" ma:index="11" nillable="true" ma:displayName="Notebook Type" ma:internalName="NotebookType">
      <xsd:simpleType>
        <xsd:restriction base="dms:Text"/>
      </xsd:simpleType>
    </xsd:element>
    <xsd:element name="FolderType" ma:index="12" nillable="true" ma:displayName="Folder Type" ma:internalName="FolderType">
      <xsd:simpleType>
        <xsd:restriction base="dms:Text"/>
      </xsd:simpleType>
    </xsd:element>
    <xsd:element name="Owner" ma:index="13" nillable="true" ma:displayName="Owner" ma:internalName="Owner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DefaultSectionNames" ma:index="14" nillable="true" ma:displayName="Default Section Names" ma:internalName="DefaultSectionNames">
      <xsd:simpleType>
        <xsd:restriction base="dms:Note">
          <xsd:maxLength value="255"/>
        </xsd:restriction>
      </xsd:simpleType>
    </xsd:element>
    <xsd:element name="AppVersion" ma:index="15" nillable="true" ma:displayName="App Version" ma:internalName="AppVersion">
      <xsd:simpleType>
        <xsd:restriction base="dms:Text"/>
      </xsd:simpleType>
    </xsd:element>
    <xsd:element name="Teachers" ma:index="16" nillable="true" ma:displayName="Teachers" ma:internalName="Teachers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tudents" ma:index="17" nillable="true" ma:displayName="Students" ma:internalName="Students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tudent_Groups" ma:index="18" nillable="true" ma:displayName="Student Groups" ma:internalName="Student_Groups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Invited_Teachers" ma:index="19" nillable="true" ma:displayName="Invited Teachers" ma:internalName="Invited_Teachers">
      <xsd:simpleType>
        <xsd:restriction base="dms:Note">
          <xsd:maxLength value="255"/>
        </xsd:restriction>
      </xsd:simpleType>
    </xsd:element>
    <xsd:element name="Invited_Students" ma:index="20" nillable="true" ma:displayName="Invited Students" ma:internalName="Invited_Students">
      <xsd:simpleType>
        <xsd:restriction base="dms:Note">
          <xsd:maxLength value="255"/>
        </xsd:restriction>
      </xsd:simpleType>
    </xsd:element>
    <xsd:element name="Self_Registration_Enabled" ma:index="21" nillable="true" ma:displayName="Self_Registration_Enabled" ma:internalName="Self_Registration_Enabled">
      <xsd:simpleType>
        <xsd:restriction base="dms:Boolean"/>
      </xsd:simpleType>
    </xsd:element>
    <xsd:element name="MediaServiceMetadata" ma:index="22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23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2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25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2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2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Location" ma:index="29" nillable="true" ma:displayName="Location" ma:internalName="MediaServiceLocation" ma:readOnly="true">
      <xsd:simpleType>
        <xsd:restriction base="dms:Text"/>
      </xsd:simpleType>
    </xsd:element>
    <xsd:element name="CultureName" ma:index="30" nillable="true" ma:displayName="Culture Name" ma:internalName="CultureName">
      <xsd:simpleType>
        <xsd:restriction base="dms:Text"/>
      </xsd:simpleType>
    </xsd:element>
    <xsd:element name="TeamsChannelId" ma:index="31" nillable="true" ma:displayName="Teams Channel Id" ma:internalName="TeamsChannelId">
      <xsd:simpleType>
        <xsd:restriction base="dms:Text"/>
      </xsd:simpleType>
    </xsd:element>
    <xsd:element name="Math_Settings" ma:index="32" nillable="true" ma:displayName="Math Settings" ma:internalName="Math_Settings">
      <xsd:simpleType>
        <xsd:restriction base="dms:Text"/>
      </xsd:simpleType>
    </xsd:element>
    <xsd:element name="Templates" ma:index="33" nillable="true" ma:displayName="Templates" ma:internalName="Templates">
      <xsd:simpleType>
        <xsd:restriction base="dms:Note">
          <xsd:maxLength value="255"/>
        </xsd:restriction>
      </xsd:simpleType>
    </xsd:element>
    <xsd:element name="Distribution_Groups" ma:index="34" nillable="true" ma:displayName="Distribution Groups" ma:internalName="Distribution_Groups">
      <xsd:simpleType>
        <xsd:restriction base="dms:Note">
          <xsd:maxLength value="255"/>
        </xsd:restriction>
      </xsd:simpleType>
    </xsd:element>
    <xsd:element name="LMS_Mappings" ma:index="35" nillable="true" ma:displayName="LMS Mappings" ma:internalName="LMS_Mappings">
      <xsd:simpleType>
        <xsd:restriction base="dms:Note">
          <xsd:maxLength value="255"/>
        </xsd:restriction>
      </xsd:simpleType>
    </xsd:element>
    <xsd:element name="Self_Registration_Enabled0" ma:index="36" nillable="true" ma:displayName="Self Registration Enabled" ma:internalName="Self_Registration_Enabled0">
      <xsd:simpleType>
        <xsd:restriction base="dms:Boolean"/>
      </xsd:simpleType>
    </xsd:element>
    <xsd:element name="Has_Teacher_Only_SectionGroup" ma:index="37" nillable="true" ma:displayName="Has Teacher Only SectionGroup" ma:internalName="Has_Teacher_Only_SectionGroup">
      <xsd:simpleType>
        <xsd:restriction base="dms:Boolean"/>
      </xsd:simpleType>
    </xsd:element>
    <xsd:element name="Is_Collaboration_Space_Locked" ma:index="38" nillable="true" ma:displayName="Is Collaboration Space Locked" ma:internalName="Is_Collaboration_Space_Locked">
      <xsd:simpleType>
        <xsd:restriction base="dms:Boolean"/>
      </xsd:simpleType>
    </xsd:element>
    <xsd:element name="IsNotebookLocked" ma:index="39" nillable="true" ma:displayName="Is Notebook Locked" ma:internalName="IsNotebookLocked">
      <xsd:simpleType>
        <xsd:restriction base="dms:Boolean"/>
      </xsd:simpleType>
    </xsd:element>
    <xsd:element name="MediaServiceAutoKeyPoints" ma:index="4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4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2481852-F24E-4532-AF30-C154D705D10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B31267F-D399-4A8A-87F8-B75F56828412}">
  <ds:schemaRefs>
    <ds:schemaRef ds:uri="http://www.w3.org/XML/1998/namespace"/>
    <ds:schemaRef ds:uri="http://schemas.microsoft.com/office/2006/documentManagement/types"/>
    <ds:schemaRef ds:uri="bbcd8c33-6940-4d4c-a587-bbc736ca1e4d"/>
    <ds:schemaRef ds:uri="http://purl.org/dc/elements/1.1/"/>
    <ds:schemaRef ds:uri="http://purl.org/dc/dcmitype/"/>
    <ds:schemaRef ds:uri="4327b14a-fe89-488e-9f6d-9658cacf372b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3BE6CAF6-1F55-4A70-B10C-21633F74987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327b14a-fe89-488e-9f6d-9658cacf372b"/>
    <ds:schemaRef ds:uri="bbcd8c33-6940-4d4c-a587-bbc736ca1e4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743</TotalTime>
  <Words>307</Words>
  <Application>Microsoft Office PowerPoint</Application>
  <PresentationFormat>Personalizar</PresentationFormat>
  <Paragraphs>95</Paragraphs>
  <Slides>5</Slides>
  <Notes>3</Notes>
  <HiddenSlides>0</HiddenSlides>
  <MMClips>0</MMClips>
  <ScaleCrop>false</ScaleCrop>
  <HeadingPairs>
    <vt:vector size="8" baseType="variant">
      <vt:variant>
        <vt:lpstr>Fontes usadas</vt:lpstr>
      </vt:variant>
      <vt:variant>
        <vt:i4>9</vt:i4>
      </vt:variant>
      <vt:variant>
        <vt:lpstr>Tema</vt:lpstr>
      </vt:variant>
      <vt:variant>
        <vt:i4>3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5</vt:i4>
      </vt:variant>
    </vt:vector>
  </HeadingPairs>
  <TitlesOfParts>
    <vt:vector size="18" baseType="lpstr">
      <vt:lpstr>Arial</vt:lpstr>
      <vt:lpstr>Calibri</vt:lpstr>
      <vt:lpstr>Exo 2</vt:lpstr>
      <vt:lpstr>Simplon BP</vt:lpstr>
      <vt:lpstr>Simplon BP Bold</vt:lpstr>
      <vt:lpstr>Simplon BP Regular</vt:lpstr>
      <vt:lpstr>Simplon Oi Headline</vt:lpstr>
      <vt:lpstr>Verdana</vt:lpstr>
      <vt:lpstr>Wingdings</vt:lpstr>
      <vt:lpstr>Conteúdo</vt:lpstr>
      <vt:lpstr>Encerramento / Agradecimento</vt:lpstr>
      <vt:lpstr>Personalizar design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Exemplo 2 de Timeline para o projeto por seman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kira</dc:creator>
  <cp:lastModifiedBy>GISLAYNO FICUCIELLO MONTEIRO DA SILVA</cp:lastModifiedBy>
  <cp:revision>348</cp:revision>
  <cp:lastPrinted>2018-08-30T22:45:44Z</cp:lastPrinted>
  <dcterms:created xsi:type="dcterms:W3CDTF">2016-12-01T16:19:35Z</dcterms:created>
  <dcterms:modified xsi:type="dcterms:W3CDTF">2022-02-08T15:30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132905C37EA9847A7207C4BBCCCD8F4</vt:lpwstr>
  </property>
</Properties>
</file>